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4"/>
  </p:sldMasterIdLst>
  <p:notesMasterIdLst>
    <p:notesMasterId r:id="rId6"/>
  </p:notesMasterIdLst>
  <p:sldIdLst>
    <p:sldId id="654" r:id="rId5"/>
  </p:sldIdLst>
  <p:sldSz cx="9144000" cy="6858000" type="screen4x3"/>
  <p:notesSz cx="7010400" cy="9296400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Century Gothic" panose="020B0502020202020204" pitchFamily="34" charset="0"/>
      <p:regular r:id="rId11"/>
      <p:bold r:id="rId12"/>
      <p:italic r:id="rId13"/>
      <p:boldItalic r:id="rId14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0" userDrawn="1">
          <p15:clr>
            <a:srgbClr val="A4A3A4"/>
          </p15:clr>
        </p15:guide>
        <p15:guide id="2" pos="3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1F6465-E1B7-4922-97C7-938B04E5F980}" v="85" dt="2021-03-08T12:53:13.0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73" autoAdjust="0"/>
    <p:restoredTop sz="96370" autoAdjust="0"/>
  </p:normalViewPr>
  <p:slideViewPr>
    <p:cSldViewPr snapToGrid="0" snapToObjects="1">
      <p:cViewPr varScale="1">
        <p:scale>
          <a:sx n="162" d="100"/>
          <a:sy n="162" d="100"/>
        </p:scale>
        <p:origin x="4350" y="144"/>
      </p:cViewPr>
      <p:guideLst>
        <p:guide orient="horz" pos="3360"/>
        <p:guide pos="31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font" Target="fonts/font4.fntdata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3.fntdata"/><Relationship Id="rId14" Type="http://schemas.openxmlformats.org/officeDocument/2006/relationships/font" Target="fonts/font8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Goldstein" userId="a1e1c818-97b6-46a8-809e-bbf816f2bb92" providerId="ADAL" clId="{121F6465-E1B7-4922-97C7-938B04E5F980}"/>
    <pc:docChg chg="undo custSel addSld delSld modSld">
      <pc:chgData name="David Goldstein" userId="a1e1c818-97b6-46a8-809e-bbf816f2bb92" providerId="ADAL" clId="{121F6465-E1B7-4922-97C7-938B04E5F980}" dt="2021-03-09T15:00:21.824" v="895" actId="20577"/>
      <pc:docMkLst>
        <pc:docMk/>
      </pc:docMkLst>
      <pc:sldChg chg="del">
        <pc:chgData name="David Goldstein" userId="a1e1c818-97b6-46a8-809e-bbf816f2bb92" providerId="ADAL" clId="{121F6465-E1B7-4922-97C7-938B04E5F980}" dt="2021-03-08T18:37:10.576" v="522" actId="47"/>
        <pc:sldMkLst>
          <pc:docMk/>
          <pc:sldMk cId="1898083573" sldId="652"/>
        </pc:sldMkLst>
      </pc:sldChg>
      <pc:sldChg chg="addSp delSp modSp add del mod">
        <pc:chgData name="David Goldstein" userId="a1e1c818-97b6-46a8-809e-bbf816f2bb92" providerId="ADAL" clId="{121F6465-E1B7-4922-97C7-938B04E5F980}" dt="2021-03-09T14:26:51.810" v="853" actId="47"/>
        <pc:sldMkLst>
          <pc:docMk/>
          <pc:sldMk cId="2990543748" sldId="653"/>
        </pc:sldMkLst>
        <pc:spChg chg="mod">
          <ac:chgData name="David Goldstein" userId="a1e1c818-97b6-46a8-809e-bbf816f2bb92" providerId="ADAL" clId="{121F6465-E1B7-4922-97C7-938B04E5F980}" dt="2021-03-08T18:36:39.290" v="521" actId="20577"/>
          <ac:spMkLst>
            <pc:docMk/>
            <pc:sldMk cId="2990543748" sldId="653"/>
            <ac:spMk id="2" creationId="{00000000-0000-0000-0000-000000000000}"/>
          </ac:spMkLst>
        </pc:spChg>
        <pc:spChg chg="add mod">
          <ac:chgData name="David Goldstein" userId="a1e1c818-97b6-46a8-809e-bbf816f2bb92" providerId="ADAL" clId="{121F6465-E1B7-4922-97C7-938B04E5F980}" dt="2021-03-08T18:42:04.133" v="534"/>
          <ac:spMkLst>
            <pc:docMk/>
            <pc:sldMk cId="2990543748" sldId="653"/>
            <ac:spMk id="3" creationId="{57C0B23C-2B45-4BE4-9655-F65FDE31EA99}"/>
          </ac:spMkLst>
        </pc:spChg>
        <pc:spChg chg="mod">
          <ac:chgData name="David Goldstein" userId="a1e1c818-97b6-46a8-809e-bbf816f2bb92" providerId="ADAL" clId="{121F6465-E1B7-4922-97C7-938B04E5F980}" dt="2021-03-08T18:36:31.019" v="508" actId="403"/>
          <ac:spMkLst>
            <pc:docMk/>
            <pc:sldMk cId="2990543748" sldId="653"/>
            <ac:spMk id="4" creationId="{00000000-0000-0000-0000-000000000000}"/>
          </ac:spMkLst>
        </pc:spChg>
        <pc:spChg chg="add del mod">
          <ac:chgData name="David Goldstein" userId="a1e1c818-97b6-46a8-809e-bbf816f2bb92" providerId="ADAL" clId="{121F6465-E1B7-4922-97C7-938B04E5F980}" dt="2021-03-08T17:19:28.626" v="65" actId="478"/>
          <ac:spMkLst>
            <pc:docMk/>
            <pc:sldMk cId="2990543748" sldId="653"/>
            <ac:spMk id="6" creationId="{AD231650-1C16-4621-A329-E3C3EAE4DC22}"/>
          </ac:spMkLst>
        </pc:spChg>
        <pc:spChg chg="mod">
          <ac:chgData name="David Goldstein" userId="a1e1c818-97b6-46a8-809e-bbf816f2bb92" providerId="ADAL" clId="{121F6465-E1B7-4922-97C7-938B04E5F980}" dt="2021-03-08T18:45:52.097" v="563" actId="6549"/>
          <ac:spMkLst>
            <pc:docMk/>
            <pc:sldMk cId="2990543748" sldId="653"/>
            <ac:spMk id="7" creationId="{00000000-0000-0000-0000-000000000000}"/>
          </ac:spMkLst>
        </pc:spChg>
        <pc:spChg chg="add mod">
          <ac:chgData name="David Goldstein" userId="a1e1c818-97b6-46a8-809e-bbf816f2bb92" providerId="ADAL" clId="{121F6465-E1B7-4922-97C7-938B04E5F980}" dt="2021-03-09T14:06:04.090" v="571"/>
          <ac:spMkLst>
            <pc:docMk/>
            <pc:sldMk cId="2990543748" sldId="653"/>
            <ac:spMk id="9" creationId="{19671466-9627-4666-8DF8-FEAD89F635A0}"/>
          </ac:spMkLst>
        </pc:spChg>
        <pc:spChg chg="add del mod">
          <ac:chgData name="David Goldstein" userId="a1e1c818-97b6-46a8-809e-bbf816f2bb92" providerId="ADAL" clId="{121F6465-E1B7-4922-97C7-938B04E5F980}" dt="2021-03-08T12:51:51.799" v="16"/>
          <ac:spMkLst>
            <pc:docMk/>
            <pc:sldMk cId="2990543748" sldId="653"/>
            <ac:spMk id="9" creationId="{F4CF6BAB-270E-44A7-BD61-788B151B9D77}"/>
          </ac:spMkLst>
        </pc:spChg>
        <pc:spChg chg="add del mod">
          <ac:chgData name="David Goldstein" userId="a1e1c818-97b6-46a8-809e-bbf816f2bb92" providerId="ADAL" clId="{121F6465-E1B7-4922-97C7-938B04E5F980}" dt="2021-03-08T12:52:46.975" v="37"/>
          <ac:spMkLst>
            <pc:docMk/>
            <pc:sldMk cId="2990543748" sldId="653"/>
            <ac:spMk id="10" creationId="{C13741BB-6C70-426D-AE3D-A644CEE318AB}"/>
          </ac:spMkLst>
        </pc:spChg>
        <pc:spChg chg="del mod">
          <ac:chgData name="David Goldstein" userId="a1e1c818-97b6-46a8-809e-bbf816f2bb92" providerId="ADAL" clId="{121F6465-E1B7-4922-97C7-938B04E5F980}" dt="2021-03-08T12:52:44.243" v="28" actId="478"/>
          <ac:spMkLst>
            <pc:docMk/>
            <pc:sldMk cId="2990543748" sldId="653"/>
            <ac:spMk id="17" creationId="{B0E6B8D2-2F92-47E3-ACA3-BB168BAF2A56}"/>
          </ac:spMkLst>
        </pc:spChg>
      </pc:sldChg>
      <pc:sldChg chg="addSp delSp modSp add mod">
        <pc:chgData name="David Goldstein" userId="a1e1c818-97b6-46a8-809e-bbf816f2bb92" providerId="ADAL" clId="{121F6465-E1B7-4922-97C7-938B04E5F980}" dt="2021-03-09T15:00:21.824" v="895" actId="20577"/>
        <pc:sldMkLst>
          <pc:docMk/>
          <pc:sldMk cId="161659454" sldId="654"/>
        </pc:sldMkLst>
        <pc:spChg chg="mod">
          <ac:chgData name="David Goldstein" userId="a1e1c818-97b6-46a8-809e-bbf816f2bb92" providerId="ADAL" clId="{121F6465-E1B7-4922-97C7-938B04E5F980}" dt="2021-03-09T15:00:21.824" v="895" actId="20577"/>
          <ac:spMkLst>
            <pc:docMk/>
            <pc:sldMk cId="161659454" sldId="654"/>
            <ac:spMk id="2" creationId="{00000000-0000-0000-0000-000000000000}"/>
          </ac:spMkLst>
        </pc:spChg>
        <pc:spChg chg="mod">
          <ac:chgData name="David Goldstein" userId="a1e1c818-97b6-46a8-809e-bbf816f2bb92" providerId="ADAL" clId="{121F6465-E1B7-4922-97C7-938B04E5F980}" dt="2021-03-09T14:23:21.940" v="787" actId="554"/>
          <ac:spMkLst>
            <pc:docMk/>
            <pc:sldMk cId="161659454" sldId="654"/>
            <ac:spMk id="3" creationId="{57C0B23C-2B45-4BE4-9655-F65FDE31EA99}"/>
          </ac:spMkLst>
        </pc:spChg>
        <pc:spChg chg="mod">
          <ac:chgData name="David Goldstein" userId="a1e1c818-97b6-46a8-809e-bbf816f2bb92" providerId="ADAL" clId="{121F6465-E1B7-4922-97C7-938B04E5F980}" dt="2021-03-09T14:59:44.858" v="856" actId="6549"/>
          <ac:spMkLst>
            <pc:docMk/>
            <pc:sldMk cId="161659454" sldId="654"/>
            <ac:spMk id="4" creationId="{00000000-0000-0000-0000-000000000000}"/>
          </ac:spMkLst>
        </pc:spChg>
        <pc:spChg chg="del">
          <ac:chgData name="David Goldstein" userId="a1e1c818-97b6-46a8-809e-bbf816f2bb92" providerId="ADAL" clId="{121F6465-E1B7-4922-97C7-938B04E5F980}" dt="2021-03-09T14:05:37.781" v="565" actId="478"/>
          <ac:spMkLst>
            <pc:docMk/>
            <pc:sldMk cId="161659454" sldId="654"/>
            <ac:spMk id="9" creationId="{19671466-9627-4666-8DF8-FEAD89F635A0}"/>
          </ac:spMkLst>
        </pc:spChg>
        <pc:spChg chg="add mod">
          <ac:chgData name="David Goldstein" userId="a1e1c818-97b6-46a8-809e-bbf816f2bb92" providerId="ADAL" clId="{121F6465-E1B7-4922-97C7-938B04E5F980}" dt="2021-03-09T14:25:07.096" v="829" actId="1076"/>
          <ac:spMkLst>
            <pc:docMk/>
            <pc:sldMk cId="161659454" sldId="654"/>
            <ac:spMk id="10" creationId="{F2EDC518-6FCC-4BCC-B4FB-C85439B435CD}"/>
          </ac:spMkLst>
        </pc:spChg>
        <pc:spChg chg="add mod">
          <ac:chgData name="David Goldstein" userId="a1e1c818-97b6-46a8-809e-bbf816f2bb92" providerId="ADAL" clId="{121F6465-E1B7-4922-97C7-938B04E5F980}" dt="2021-03-09T14:25:17.791" v="830" actId="1076"/>
          <ac:spMkLst>
            <pc:docMk/>
            <pc:sldMk cId="161659454" sldId="654"/>
            <ac:spMk id="11" creationId="{C1D189B6-AEAB-443A-B8A2-4F6F949166C5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E0A695-58C7-4170-9F26-7190A8D52D10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70A56D-87F6-4941-9320-CC3C38C6E5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9554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B4BB5D-5D2C-43F4-815B-7A4C5114735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4684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9924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78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1150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1430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6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6397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CCCCCC"/>
          </p15:clr>
        </p15:guide>
        <p15:guide id="2" pos="5760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defTabSz="914400"/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 defTabSz="914400"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7" name="Picture 3" descr="6C5092EE">
            <a:extLst>
              <a:ext uri="{FF2B5EF4-FFF2-40B4-BE49-F238E27FC236}">
                <a16:creationId xmlns:a16="http://schemas.microsoft.com/office/drawing/2014/main" id="{2CADE155-AE95-4AA5-91EF-E1CFB681D1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530" y="128016"/>
            <a:ext cx="1630070" cy="581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85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5.emf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hyperlink" Target="https://www.mekkographics.com/mobile-app-store-activity/" TargetMode="External"/><Relationship Id="rId5" Type="http://schemas.openxmlformats.org/officeDocument/2006/relationships/tags" Target="../tags/tag5.xml"/><Relationship Id="rId10" Type="http://schemas.openxmlformats.org/officeDocument/2006/relationships/hyperlink" Target="https://sensortower.com/blog/app-revenue-and-downloads-2020" TargetMode="External"/><Relationship Id="rId4" Type="http://schemas.openxmlformats.org/officeDocument/2006/relationships/tags" Target="../tags/tag4.xml"/><Relationship Id="rId9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Q30RXwdXtvkH0USJ3+j21vfjSjPiWLb10+vV+UlSM2rfV8+oXcmGu1Ko0hRXYA56GIM7tfukAZcnpn0TgIvb6hOMWgNgYzLSbE9D3ggm2qk0seidyjUYNZHD+l3kOEG/hEnCqgxT1SMByDo3uk1nWZyDGv4yqVWkd3dHERonKyPLJdKql8W80Dh5qrBoP0hOIz4LzVrDZ0XP9r5KnLIWsx/zCuCnZM2iSVRkrh2FEHN7WjQ25PsvtJbYdzYLH4hvIHeuoWgW4gfbZCkOTPq9jQtCa3fxl1jY8KQxyvlJ/ldcPWd2ZtYWzMlmfWdgDIYWBcJmJNfXjERQjZQJptgkilzimygIWghVbAyILqWL0q3fv5f7Bb7qX3ZJoLsSMICyPOtCHx/tbET01EbQjbLL661SeUYJ76Nv3gQzs1gSyTvDY/CvNzSCVXdQOZ50INgTQot2Zh+qcZn6vaj5AdskwyugqbkP1nn2NOFU7Iaml2CiQUGa6AJK6G8rIYt1NOaIQfYaFIV0G5WOGEvTZAPJQy968ZBuCvAsPMzmJhf0VPTO9vStO3LyiCIVQ59vz8cVkmKSfu9uVXkWRZQf0sE5BgAgN6jB/LkBL0zcUvjOowI8AhGRYR8zUdBTGVTuJGSWcqDyHFXyU9sEc8XtA7X4FFWoLnU2ltvWnvkbUl81ycWlnKRAjnoC+wFwdIWdwQBaBDwelsYBO1j5SEDKK3PDeHMaHz6h5TrGEiF9oKghKTtsatPYa7ua+cv/oIm4vEuHYj8B8PrkXRb+iiS8G+LHmeyf6HIGf3ZpQ2jfVdEOgH6VjwJT0ePaFL+b24/Le5yAHzUrvmNmBQYiM89CGV/00GSkj+xirKvlwQpfMTksO2989TrzXEFyvkqvzPZvb/hoLcgSrcnB/IKvHmsaVKx+7hT8NPRnQQX5JHx3Ibm+YSlx8/ksf1Im0T3wsyJ95d480bdxZJBPrub2pwdGV5Zzb6fugX0f2VotKJfKbRl+03LahtqChRWfrA7SAsDzTyM9qvYU2vp1tebH5YR9jFVI+UTpMv8fKYzg4PPTudfrUVlqMAWsIupmkgSKFw5pvxB2cDukcH/J4qjMXPZj0LaQeVYWZek5UnNn/N33I/VemJyldqNcV1b5Mbu1kl0yeVCpl9M+rad6ryO63Goh5ZPUNO0BA7gPNxofWiW1kUvHxLDZp2wdp7vvVYci9Ujzk6dN4TkRaqpXhE9h99KCCZFshbBgol6QMXeJXgXnmUG+Srg5/ZMYThywIsekxipqae17MWGimjcJmVy5abRl86QbRVF+SR1vZ8beGbVupsom5F/9LHluAiUvKRc2QrsDE+iBjqB78I5rcTEJRYluqbaWdagg2IQrWKo+uANdGhiJ89149Cj9FoP06yteN9+LodxVcQHJnUN6RDN43DXEsxvQxx6nk7pmv/DXab4kJDlfStUZcFJJTo5v5wMLKoVCsbB/pvr4fTcN/+WNmR76fcNsyoskBxZVPptRYsAfz//5UvmCetOBJYhOXx8IMvGzY31C8LILws1vKykrF2uMk2mtedxtSRMmgJqqoRamkMeZ1ii3KZ3Jt3TwoydjfuVyF7kocKLQhWBd67w171RKI3vPHLCMGgLjOwa7woPAKWgHIEM/0DXYdtPNGHkpgEv7xHMfSLar6Hw6eyADtBYnWT/9FmcbfJQEt+SjKVVE3lzLa9UUDZfRrraUTMrZYVIqj5MNOcVNOPPVDcXSaeE99mdOMosL2RybJFK8FYKdFSDc2PtwCl2CARdnKP6/tCZFcOWG4o6EIuson8Zs1j/e3RIzy3mbybgJVcztE3rafXtu+S7YWBcuBigViK5lH4nF5dl8AkHzwnGnLDWUf2hbySLk0JheXwlsRzetWQpog6xCTVff7y5erscIXHj7+sekyBNB3XhOHlI/JintFcVSApGF7QWl2h3UX8DEU7d+3BNu6v3S2ziehnIXbznLsQGGlrIwnnHAgLOiGl7pRb8T7Tcgg4C5Ms/ndOH6Sb0ZIAqYr3lRr2e45PreCexfsRKkrPudS7SVk2i/4FFmCLrdtIBYXkoNt+79y+HHHs6iTVmPP44G7BZcaGCo2ahfQuxdmZtM9fLB+ja0/oxzF97VsmNmeIA2DcF+6V4DA4B1+beJ8pF6JanKdUvzkP6du7xTXF+mFAgVD9mFjA8qvqshIPVSeXruRYU8yqwkDVrQZab5KfNkxCpW23YlQ28QUOV50Ml38bcYdJ6akgQ4XtysJteOaqDcJ2KXKOnFK/Xxi0k2FUCYoiDr17cPFxW+u5C0Mmob6abbhQrecEBZqHL2faorrLrvMp3nhw/qzcCLIBJiAErIH6ddnvOrunaP11LLv0xUhs8NeJHCRwUAZDdhsiu/38BNRJ5cBKkSbjN+WFOFJIq3Qja8tS/lvpoa7e4mJ2joMi3k6QuFuG5y4HU3+OuubVhHwD1yNtPtLp+JqrP7cqr8VKkZl3sob9JU5o0jJaJq9jfhoGRWdEaUE1MDByvTh50sSCriwedf30OlsMGgfPdQCUzKmZz1ahqbYGL6ayCYj39nMzDW9ZhbPKdgfuRdRazGMjUye1OUF89MRvNAjkRSqbVFe7SY34W+8k84ao5Sh5Zhk/l51pjLG1krq43Zk68xTqcMlP8oJYOsxInQfgptQ3/A48ZR2LX7j17K8XWfoy8QA2F5hyoZTy8uFriEMJwx+v4H8YESr0DJTELNjJUURxWrmOpUsAEW3pqoUWFk64kMpj/pzPV//F7i1vyEliJEF9eSu9h8nKIYvCTGcBpuiMVF56ME/4ZCaJdTq0Ri/ixrpj4WZDILDqiVWo8LdhDptFnm3QzvStO2coW2wGkN4vrvDYX78SvkkldX1DJss38BpVYcWPHqm9EN8FMvHEjvBIQWFZo0X0ykrIfu8QbBbHrfYcNEvtlq2HJGgNOhvOocYhkDG3NhpRDw8OuFzPvtyZMu1yVBGPZ/hH2yGPxEQXZKutCcJGj6GBRFvhgoDn0Vr2WOYyTY48CaP8oHTEXUPKVVBjCg3KtN2CBFzIaEUm+P50l7cem9jvQnKEy8suMjh6VS1r/Y06ywIXjtUjwp0/kUoZE00Tf4FYI2y+m54961y0AHsggxpR9uxYHfMMcuGXQIKoz4lAlvgXRVtSZWdOusweJ5orZdQxp2ygKEGYh1TSS9M7rI6BYIdr+LeqOngTkAwInMXUuIkLBpvvU/EKwqMc2dCdg0xiuIg3+jGE1zbbHvD76ZwHHrWn/RV8gkAaJ3w9kFTo3jauYFydHWv7/KbMaPONi3py7cODYKneuZ6mipZd/K3ZyipZW9/ZWid0WdUP5n0q4BeOf9WtxC6jBUD7SNWjhdXeHEe6gDxMcnp37Sp7VpjSYsUYJ4ALMITkM6Bi3YkuHZ+b4TcWmUwAyClEMN7B3NWrFQ4sBnAup2OkRS30eGYH9BdDCZXBGwA5QPIreAaIjvTZbsvFSI+eI4BM2FwH/m4cxwvWXqkqdi0fA4yIwNWwu8r2k1LNL02XFjQRKDBznCch0/clxpIFpE0xQrD4Bed04smVX79sARAHFBFtuLmxEwuQK6O0eGfkFcZUbVn/ID6eHrRvvYk1f9mxEoGzexNjsLEQhA1fr66QszSCxOt0soD+IVEAdUok0Bok9qVaLZmQgf0j/JzQqDI5j8XXMWD/I8dXWC5VkyMiMXSENkV5wdRxTEaKFNyVDVemFjUibWE+sMI+XOjp3sFUSTPrViIa4uCILdWEK1y4Xg1BgIWUBJSYgmYHD5Bc2HLAvQlH3B3Wto9bLQ2EuUffi52OV+l93+g6cQfEzAfgBWxSXU1fxbMpe5cHp285qvYkjhbz2ihGPJwO/ZPqwzvkdWp56t7aeHqNRQsR5giKMdg2gZYpbu9uw31B7hzO9qUvgd9SZmDnY1sPo/B09de9eIWQuzlxg0p2p0ELD/qvk5yE4FrhZZ/hND+PnsAbBhQwVwLCX/rj8gt8xCqNsA4qInBDzBNKqUS5AKnLqLpY+TGePwyqHITB1mpnIZ1T5QzOPo40iCnCM+IMYgJh5wqQfFYBkagRuOXNvGYNhsaM0Jb59u3UcvStKnAaqo0trmcJHBX7FUtQFY3STLdD4+bqHBIxD/h46GJTenYEyHBlstPrOKLQba825MMfq3XpBOEQ80+S8MDUZDk722UiU33+kjnpsEiDoBzvHdbzQN+C3iqjkfiOVs/+7knZGSDmqb2cBfA9OUjJ8NrQoq7eQJ6VibzKqf+olmUjApbvgaQb4d+4Kw3NUeIiGNajEExbFMSChQ0p8l9kYOERaKn49TXMYiK2SUlOzc904xSVYbeTuHSdWiDQhtcXwJDim49Tf64IQfS/E0NOEHzgmvd28103UtPvC3PpMoTwcaXIb7ZlC+G7lBi2rr427ooxzp+U2ambU7d0XguUADWfmk+mNwjfZzB+tsAKoU05h2FN6X2wCaq6/c82nJDrEqljytF4hsLHmGOY9oL7E7WwPliJclZQ1bPW+PpKT3wjY+M9uEwEnB5FUKFPnnM3Jccy/c66UBovaj2qrENtT+wV24guI+/9xq6ZpHCfD9CK+jfUnaLKrKeqpquXr2AEoSoo6l3IX6q4LdO0gDIHFSIu/bDN0El8y3VMfgyberpjGWaGWgaNUC4TPVkj5uQEOi/rSPr1f3q6m/3DIRqLWn4yTE8qzZhQbgTvar/dNDecZ0v7sMZ2xmr5rZeLNbGg3MkxwNmyGvxML0YYEyztNubuFdKW40nHjn36yf1L33z9cV0UNgsw/21xuN+lrxk7zdPzj/zPLjEy/ph6YcFzK59uaSojQqRDZji2KfGAs8kHqYmiHEEdK6llOIr10mJ/AGU+cFaO1zDXM5Mm5OIUTkKf7zorRYGDMr2hK0xGldKAXB6Itb7UiMQK87x0kGd3swk2AbEHsdcv9Jzgf4dshTrwQP2CeZObV32k3m7fGuWaTEhg8YIW7wjrWg3y2ODYa7KvrxXXh1Dfrhv6mHaxrXNJXkFdFPlsiEm5UKzGAvxsxCJlvFOaaCtft6bcIfGUCEBgTGdnz6j25pePBlIBq8ff5k6GMR/DDo6OHv0LRRGtwBHBrNWByB6kdelKyRWSoxJMnNsexTqMOzoWFCphYcczHxbEJw8vgnSaBzwBL2/0pNHprkoryycsU7wletOhPp5gCn3CEdeCxYSI7lDfBWsBMAjtU9NgxggdxXeuObpUet/uWAbdtxo/YmbFd8R96UoCbZIvZk8g8aQWa/oNyGW7I2Wa5FgCP9tIhO9F2hm5qxczbi0xx2XhPoae05pyMmqjiA/L3ZAeVXaxX68mHM2BaioY5el6eybzTk6PrTO879Y5W6wsqLTMV0+jLvT9hxpYMGvXB5GVzYQxgR/78EsfaU2wLwap8dHLmhI7ypcX4FYam0r9fjOELS+G0+GsRL2qOxWhaTokUgCmZXMZNYNs+NrqGWGGzXcwKaBSrgKBITP1V48TWMQlOqNazC9xfwQzE9q//CVH/d0OgrN0d3rEJddZsd1eA3eLNsV+MR2xcZN/ZBImPfpCFADMOwoOMAU/kmitr2Z9edIB8WiBFqRn1WHVExecMUfoWz3YJhDCG4dbi/No5FdfEvCI+03oQpVZS+hX/VlrJEb6F0B9cQB2rRK1ne+y1EuTl6Hkz7vkgi0INLNlIhonP4ZoIrWzZxJvSPOydQehFDa6CsvCjqWIJpHO7xCFRgaFAZfi0+SFEgkeLM1hOYGEp7v/tZLs3wwPEQfwmoEVhtXwRRkXOiqRBM3rFI586nUfsIeuCZhF2gb6HbfwsQCM9Fkw079HmqP4PXQlm7HAiE/qq4JqkrWWNt/aY0sLrGi2nz6A7DC1w4fXvY/c702zPUyaNmpkAx1G79/FnPAF7/W+HZD1SLXTXXKrCFiY8dYiOlpwJqNOa6JIkvNN/xwSfGcGYTSF48nOFlbkHvFtnDolVIAIbO7T6tAywh9M4jw5lAb0XT+MRb3Pu/dC1l1omh0SMb/NhgaFc/7/SA9CqVV5QgWLOnEe9sNdkbAd+s1U6kK+qyDS1O83xPQFpClHFBcoF3wFTC/CTOL0rxm3u7vpz4wPtAx+Zz34WuQSoUKXJs1befaT68jNwi8eBNdWaRFwi4iwegE8gtCTd5HzWnzNdCIx2u4B4ev5O3nqyQAhJmuJRfjiwRVQqGrlmP3IwPNxxnj5a2kYAUvnMUeEmqXSSD9rrvdKdLz/YEea8VqjhW72XjBBZXdqRYRaGfQK8Zuq4WJPQI0WYiYiI4EcxzxM69SBFT2h7l6bfLQripk+HMviPRYINOe8PzDJUeUBLS/Xh84oUfecjNfXphtgl1Kr02z62Xf14YHANzHY9q7EwS1N5Wz/mP0Bwyr9h50IFGtTJ3BkDO/QYMUZBULQwj2+sIV8BArHj1t1v5L5Q2IL3SDVQNJIE5X3miGCh3jZF+cYszvwLDXPIIwP4jULj6Nbw8C20SMwciC+jjH57XNp0xookKGyFtJbqcEEz//Y9xPZ9cRVAM7UMeA0rQCy4V/4V1VtXqAIr1qde7pqI/vLBaewijT4rPwRlsn9y5dQveZG9MPlHx0Af8+pjofav53GvB45fluo9+aEIsAp1INtpZzZ1eg0pu98WCg81q2fltEIg975T3TuwVubs2EVZfigg0XTdaGkvUTbcYqxSEeZ3Hh9Jn3f6uY13LBTrkzlOxxpktoidNqh9KxbFOEq0fdJvojfjdTDUgszzFic5/UBN3ZcMviqtVDe0OlV7B3jlV2NHekf1/SnaIsFa8C+jCgW4gXpcCH1tREFYhCsugEVxn64kY/3y/TzjOu2+9Mrj/KM3igjiIX11wtwAsYMgzvRKEYxwB4mIe+Jj5E7hbWpxssZ7phwZlhRmfprB2vnp6bmFc9MEFkzzhQEMx0SfEYtNKTQBnnnmZJmr2BvS4SD+8Kigtth39rHoT/SjEiszT7Sa1I2j451YkJwy5OnZR6ZkxE3iq3RYnOhqDjRPe2O5ZMeF4e94f5vRxmokHeuyWqSW30SRj7tj+wVs6wRy1sxP9D0SPzDR9108j9LrzogwMQmCrD0jCm+TrcqNpun+gjVRcBBoSlxhaFA/7OVGtofQwrc4cMO1ZFWo08WLY9gISzd2Xi1/jWxUTYHBXeiQJ5D1pK7krp4T1Wv2mR9KCdf0M+1LfJoo0Ss7L03rread8ghzsgFZ5oy1asu6Ca8o2SWXpXRlVYMMGObAj7Kfox+FFY8unhAybiw04YUnEqMQmv5DmIcwi8uU6Ax8LKf+BuVggLwCVeY9iaFbhNq68J4WrNncWdtCpZm+dxzf/AkryBw1nzFQTOss5iief6/8FhiO5ZHcKqJN44PRkNgaRh9XI/GWrcT2B0M2aA86ZYe1ptG35QWw6zjYqEO6vGoyRsdaEPrjpLwWLZzQvPjOzK+VMvW3IfHOnsppMskyM8KYrs3e5VTQ99dCMCLUaIbE70d0/OOGf/68cVC0oTCo6gwMziGhB66nn1C3fA6Zga4EWnW+XqR8k2QQQvoXDT9+6slJ4UTlNHXx+UvS4n3sjnMJwKr+SSPLA/yDG0K6XDGmR3uiPWYwpYBA2SyBItM3jLJmuWZj/EBq2BTUjurJcKjuIp80TBt2Ltv77N0uHyXrLHHDgcs3XmCLBJ8GAWWi1ka1OlHAAGHoyGpGnUAHijH2fKCewSR1NJsX2t+BjXeWW8ymrP5oLo52TZfvK8+ArChdrSHlxSo3bp5y/9e4uK9hrEUuKTbjmUUmVLhJ2Yel7NS0kgKmYH54jxwhiCq+og8DPALFZ6DByf2aI3w6wkiZInqStus9knkW6LMFIRoyKf1rNC3b3m7YPT/+xwNM2kDz3QlPOmxgoj8cUJBJNb6zsC98r3cQk7ovdCtLzPrI8PM6V4f+6VitwlxiluEzzVl4KnylJH8DhiHtudGuioc7IOosqEWDLRFGu7FGHzdV5Nr+FSju66TONkMoq5Eknfy+uOFPtsqclvIQcmdPWJosbH0bvXgPdfIM0GMImLyIYnikSXaXYaD/XnMIGqGvT/VJVju4Ecs8HfgZUNTcBDov6AH/LG/Em0DqGSHkmUU1JuUqdqIXhJ7hwfoaGIuAD8AAOS2pyGOPrdEjH9p/KDE+F6fDGLmp1ZHy54CTHD1eiR2cz6tYkDUwG5ny1RAnAWuF3BRpAoIFi4V2iwiwFGdWfDICErb/6IREfQ/moi3Wzg+zVN952lXXQRbrm4RkptkAK9AAmJ0T//YSpEKflitmtQM0Gz+z64W6bp4H6gEhlgMOIr9dOlLjfougv9XzYpHKfpMhPcCX+NegSImf58Ps8KGs2ueWIftuecGAUjP5aW4rqPgDQl68g/TqF1HD219ey7Q9MMAHc0On/kz0lyq4ZnZqVJrfHp4vDWk/AIgtjOVMPFksvLeDC6VDGSgvrNMQAiZK6mNtx9Ga74IDinXRfvV9iBa3BkfWEXrZdS52kAilHsTq6lFCYkdTTkCJ/Q/WaU7pddcN+5/sVeHhCHvvjCtE4BoJkSnoJUXM4oJXahpjRDZgovA5ydT2shDo6dFBKc7p1Yo/6SdbUnwWp3Kufw1AAXe+dfDZJK/LaJpXseJ8XLJHvAl2vCYmjKRWBm1gMVQ9JgqjfFvlSKAalAoJiLY7icOH9+Ur30AFQWIH5cWmb1b5eGvWKwT75UEsxyJtYMgveWZDC90QOiNIlRUl1+8EtZw7ut+UlOhShsOseEhwedCk50a6JGiWZw1mEhUhEPw0a5UFNDa0Q4kpMbcBivkOExOPpynpo6Mm6qF3eAy8tHmJADjVEboOFs04ZRtp3oMls4g7BDxPb0Wj1S3uCZw54z9GiOX2RfJLPNsHP23xlrUa0L7JIcLIuostnz6iZOU+eC0yQPRs0OwkZ9/Xj7fn5ZiW0TxaGEMXyXP37rlgYFO/FmgVRA8roY7xk903OTWVHsLj674APMMXvCarem7+n4WAbQft/6NpoWdiiQDOqPz/qqZ6p2N00rneIOsR/4khPogFAlMMNaVqutlFh4UMBJPZO/n+TJlArwVShlxTGaYCJjay7xzPSkSdwFaMuxZl+ZRB2/vDi5qBlxPoqXD7QbDm0lvL88PsjesIzjuOkvLbVTP0b6Jh7qBLkQdrXiE2bDKMVB+50v9JYpeCbX02Xfa1VC0TE3UghSM7AnDxXzrajxOTjJrwU3sgq4nRZbGqNnbmW0gJaU8omatGYhJekEJ4C0m/r2CONU1HznjESBZSxxi6Atg4apJgp5humP/S0FtatAmwjazurKM+oTqVHdKgJqPPO2MDnJTZdjb/yRKasCYga6oWRCb00yj/mDSC5c5WVvEI5jxMtIiXNkw7XHciCv4SWOjw14DCQ0Pwh+igULhUTlJp5fGWuuskXqC6lXGVhEwCWyeBTbVEJw7dfKNHeiKKtK+onP8cmYQZB6/QtR003yHP6E99FB2sztkJTtqwXfx9twxbtooip6DRnJeHEx6nuq6wCbHcbKnd9OwE5oDXYMQBJT5wx02hNl18WAQTIVdP7dHAlxJTwuA3GAgKhjAUvYK6ss7ovcSHRFa018Uwd3tNUYPAIolYakJG3aI48JP8jikQEChdebVyk2mOmzVs5TDeGdzt3oRKWR8+6X/71G/HI0wqprAr98al42ZimFEXJzQ32OlTFDO3+ypq6Y38No5VdMiDSiRTmlHe8s/qfQ+ZXUJkk2cHLz9/vOw/JHri0/Lna+Vj8SzApGAJcKnOFeJJdQj0Eg5QeOclRgCtNf7gDQDHJ/lSjnSOHVqUx08OzhSsy7MzLp+qScpcYqcOSUyIHKD6xy++zYrFBexCOtlIzEqOLYx44bfS6Gl/sRJAS28z6y/+YE40UYmiKYml1MDjPLSMUbrh2aezkrb7VTi+F08iIxrQhfzHTk6O/5dszwRQS89oNdgXeHl6hAzHTaWQVOr+X7sBvAUVX7Z43b9Hp3TnXZitoOe2AC03YkcP2X8B9tzbQ54KYTVNp9KfYLhaLkPpZYbQjl6gD49CuD/B5VtTOM1vnq9SuQaAmAhl4vKn+hnuwExgIEmDYdkbvN2HWaUxfRpVRzhB6PNXwIcK72f3K89RBlS2WEzkRHOY4nvNSiRXzkmv0AMUBbyjAv13R82mwpOOboAU0lz5fwxQfI/sLa3AzoEDPVfWeh0LTdCUBMwypgNnJELxtiVVgMYT05JHFq2TuuF7LzIcHJ3dCBCydVmO2CiuZgFT8cAdeppG3aLUu2QrwFqSMuDPoRMeMX1quMhlbL4CySLFgGRPCxNQ0u6sQ8cfauHWJs+GUwLTW5Coiolo4dLWDxwLNHNd/XcT/WTpQm8pxhtmK5xZAfOOOu+q8WNWLOLhiDywwv0SX+pIW4wI4ke+Y9SiH1D//LXWAMUZZgreM+8TgGUyg3aRLJLrtsldDGesM0bt9UO8D3auPxubib75uBzFntcV/nB/x2QZBuaoqNFNcSOGT2P1uiMRdP4k94DvE4Qn2oZKY0QdRiHgcR1cXRkJnxdB7mgnxOBMaLE473O/soh76N3bhvZpO5sx0qSNUhxq83sZOF0usr1Q5Lb1jOnC8x1ogxRGYe9kMeHP/dW5bfCZ9+6sESEZry3GOGT5lMT6JmDWjUvt9+OSu92XK+Lp+74gViILVMCuqCBDLAAHHXNA4r3/bLSPdCQSqGYIjDlPQvUKNyR+9rYXvjInd6WMWgywZa/pGgIZMvgPj5FrQL8QoAVfRJov6/WSBLXg23o3+sWYuAcvinRhaMUeGcdDcssy+xbzGtzoWQkxIZhEE37HcULA0bFKP6pz+ADrZ5hvaferAwLVzdHkvp7KM5hpwGlgWrZ0K/Wk7GmEDtGbKRDomq8SLYumk7L+Vil1K8ZDLJqcE+ggFlx9zpJCtcCKLtUStEPEFLrELdqRrfy6HZLKdDAHv4s4w9FFKJzObYO9bPKQXAT7EPLJkzTBqXzmoww4ewvcQSqE+XIFWNlCprb9pcBUVmDZg+dZFho4DRDpo1eIYcknNU5N+CVWKMf57L2E4kijj+k5X6zb/3jWMSpnUxq3Qj8fTv4jseLmleqi4fT5+adoLpnsuB67ykEMoORwsU0wON8laK9rGwbVJruGnZI0GozibqoXYd+A4zGuwPRzp5APzc5B4lJjPn9S9r/TUP9uFQ6DfKNmnYVc/DwfRPE11eEj4v+zBVesS6SRUQJ+/LyF8myglA7ufJzh3sEDssYXX9VDPWEzOKGrJdC4zZJVHP+7ReWIHo77ZcQCSQyzURIfqoQufeEvBaryfBsvCVWUpNnMnb2WeLB+KI3xFxuf5Pvjhbjl2Yu+O9dJots1Y18g1NflSND+bAwxt5hpIOdyOo0B/EQ+7PJdNdEH0Oafh7EuEGM0wr5ZkdbZUcnBCZrywXwEXqys7Gsd0hyI58HxO8nKczZjtAYRV5cz7KmqIsEl9BgwowuVKxNInIEvCTkBfNxuJJhkgbx789Csvr7ZtgmS2AXFvYLK7JiN+U8JqrKjbceWzJVppz7faCZ+Qz5wZoPSiBRy/SpXktU3NvUhYUGOUZJd/Td5cPzLFQqBF/4iJnBcFUeENe022IYHQXtZdabU1feVO0+kh1dIuV3OJSn3oiaeaJ1/w3Be4AE5cMjyhZ8KTBOEQCaq9PzdbbopPi2fuZx/L5WpVV0DKMzwKBGBzFAL4/k/lY2ZLrDvhE0PtZ3gwTw/bsXvqGXtpAEC+OSmOvpWRnsiZroAqkgbHK52RKIQW9LIK/51e2r7yMU1ZAs5lct7mpvYTJ5EreFFBjrQuIAte+qH+MrOk452bLA9wbirnhtTj4VvyOO5cC3l0ogy5IqTZKhg6l5qndNV3mejW+gO9mIdGNOMHwteqVuU7Ot3uf1/wQf3qAZiD+BOGabAvsstSThEqaG71kZE2I6IYyCsqcoU6mTJ12EE6bp3hAVQCu7JfFRo7CEU6udkglYbal9e+SbVDx4WusOMGDtWbaoa45fmF8kJ9V0uKM0zYaUpt2R8soXMGLfy1jUi3XBOIwJrAnaRi4/YRMTDujpfD3tIb0uMLL0SJ1BWJnZLR5eyj5icDUcy4sr1QV2dU2Y3ncT+qJJa+Xd4EqLXhYNIjAyU9NM9KTwSGmIxkwLUAbtYkE7yUNz100aHUnGAmaa0sNJ0r8pvvBKRA9IX1un+xOfxnnQJVKLcA2qndKpL/U5k+jkXaUUikhmYyl/6US3Y1y5hCFbYC57WWVajS/EmCeuJJlfwjBXs9IxTAoTFbQ75ZUrxnmm/YAnIUAybgWubNS8LnjCSZc13fLzHM5RaZELA5MA124NFFBC0+BtLX/aOawMEqaxKKHow/9jsCKBKbjcUEAKmFEBjKzsC5UT38gsohI5bWf+tPG6WVdsoochSEs/pqn/i9O/Hd2VlH7OxPDT/HrDPFzJ8GM0bCR0eVXLFwfcrplDlMMqzVwZ8+7vZfd1lZ5NwcCGCkfvZBuxs6yhxYYlqaYr/SvTY77ojxuQl2D1uryfz78hAT7CAULR8cRU6VN1sngmuni+/p0f7/7sK8Uj7nubUtulhpLpSrfW2LUlV/QNaG8eI6jlDmwhc8g/NxaGnEIN2VsgbwrdXKZT9wulnRB6WZbppfWiMZEOGg3mtoH/D0qwO0LcnMcnrVfgQMIAcy4aqnHXa7PdyruD/6MjkO9QjJPy8H5C7pb5AcwK+l0hd5+vdvJoGwfGIKH7GOG5V8+EsTDthRbx+An472xu4zjPVIfPxv2cV43Xgh/ShPbQDe+d3M3W8/+jNijSXzugJhm2CqpFd9jSaVR3Bk6UnpmViNsqp3R7JTQW+tF7Ga6jfk4+IqL5oBIjRPPYhcadsMr7g51c8LV4swMrzAP9ts/PtbbqRoOwhQUGti7ZcA4tSkk7/FT4V/dm27Ep8bXLF5x/8GtTgB2ZJzPHEeoNXczyozp4BDlygx3vJeL9Do54cggLjSsf3wLqcQUPM+hhg5o55W5IQ0E+7Qd71jKPwPU2nHh/Fzun15n8g0k908M+vKCORLqL9tijfi7BHHPVXWbOH6GQHZt2gAAk7k4EXoTfTtzKQ3JcgcR8JBJoMXmCdEmLCn3Wnl3qDj7SRo2sINV6Owr+PSEuY4NGF+fyoJWHFzgLRReYVyHf2JYOfZ8zuHOQ4FiBaAQ5AoOQZe1bEk7/zjKGNY4eLSX1OeTOsX/BBKGBuW4Rnw8W+7AuP2/mo+ePeF5LRlWLV9bflqL4r7e6E7huL/Jrg8s/S0YRPcrHPWx3yq7Vw+YcTyyZwaLpcsXYrfSRONZKjsE8Y/Cd8HS+yH/GB0a27kmtISgLtJNavEhSlPvLQDDlxdb2w/jotbiS6+qLcu5EYWqHfRaBFPq5CrJjz31yrKKAuN86XQdqKJW9Uyz1OKyu04XXLf/relMrc++OC/PAcAPqhfsX7NWsWd0O+59P7k3v7oo5HfguKbWF3UZVKCAU1hZsu2QW97ZznYG0EleZOPcRLCi/Me/TKYciFnL33ZXMR2+aOyQqeDmoh+cNmqQ5OaDOrcbWPd/y966mNJYL+fw6oIjPv9cWVr71Qx+Voh9zHzk4EGkTzCYEBMrpP/tYaooVWw9ECmh6VAFYl1rPBclo4tMgC48xyWRVzb4Vs6eXoMbtWpJjPliqzSxTgp69A4CPk9PJtjoMVKEvVghZ+nyM9qdYmZO0KLxbD58PBjASUf4lFBOxGom8DJd02IXyv0dEi9pa3ZbIe2IMwmCHckoN94SAAQG/dhz46TkKYNiE2JclJ32PRO7TkIwLfu+mk7weqSvCfZmcdy3IfIGeRByKT2C/KJrs9HGdNOIHtty0DbG/GqZUUL3uBoYutrSulrIEO05MHWwn7UyWrou5YdTtyzkmwBTLTg0qNbWJB3SfmXBYrN12jqJo5v+NE2e+LDLCRJWUjoGvZWmfXzJ1h3XnRix8woGnuqZus2TZB8Y4DQ7KwrGUixx7HJVhri25ZY3lSpyaVC81zxdg5Xf6C6M0E3e0GmKR4vI6CXopMMXXFJuZaYZLPI1+UkhZr/2DkWDmUHpCmyj5Fm7pbMyf4R5Suf6HtD5KwD3/4SmcDc9di+PoNFJSAiK6YRBKJaiAlxdoMPjYpz1oxIn6sBYWq15Dd4WriSzzkBFnuVSwGcEOSXyvMKIiLVA8ry+iiuHz+qE3A3F++KLKKlVheWo/KtM9NcEHGcG6yp5YTucTlH4rgTBDobisybCg6CqJj9cYOqcUKKOBigS//97FctVDP2j8BQgFFswb09XzQozPMLvNGfCyMZ75QqqOcDZ0+Sgw11Yhpfvc0hR5/f50vvrVsuct3oL6BKkxbVT22npLjG20FoXkwS2YGjxz1gcceaGe/xgsTZIru3xNjohzANozcysOMHrJRy6e7XSI4shRVKv51wfRMMmy2U8aVexW8HGaXw7EK61XB7o1THjp/YUPtBOPTrlfXGowAnBSv12gaPqFiISFjtYiN/pUIrgaxasDsANo8K9hHW3jTnYNvH6MQzr9TBosiGzAtNUGWRjHLEv2qmbajB8Qpb193Tj/CKN3BqhoBvMpqZ4Vqb/WtXXw5ahUbulTQwVAuF9gM5kDcaQr7Pvh57pEx6s9oFtn/wb4XNG+W063KE3I1dc8QQTTkV+79g1oBfFe3/HzTn2bFVjsxzaef+AZmAWPVu03xlxpKKswwB8R0HtV5kdNNS3ESNsmxVyTmPvapx7Z6MuHE+L7hWVqKza+HLZdzmZQMq7BkAEByHX5+2ZzSJtwjxJW9K0nau1CmU3ttB96DWGRB5uYnBp5khA0nn4m2fnmvtOHhzrKkLoTcYTUnImvLucfcaSMxs0LZ/vr9qZyjiPMsgZUdUm83z0LVXmZBiMW9WpKfonllCgXF8cjp3L29pcRJtApnY4zEyY1IIeYF+oKQx91xUkn9EBdJEM31Rf0oHGbgCq6HLXOI/crlORh/NL822atb5pdSbiUDbkUOTCoVcQgI3ZlB4Z48pkJ0F6vTTQ7nlPX2V1vUGiAHNygv1XnPo0YRDeJy5CAOeJWu+T9+LRmqMJw9v1LWUSCBCpvQBUCTmWYSYM6Pd3hBnr61V4aqhmu3su7AFFvff4Po3pWyKe9OF8wtzBxSDarwZH86Oyxx9BE9C+oYq+WVkUZA73/KAfZ8KrlAE43qEBEoRjNdhdDe0p1HTWyXn3Ey+VEwwVxy9t9ijRWZ7h+ljlJs9naonztjWa/+RVcXCftigIXuPQ+kY1Qmyrm83WNVlNNhRCTMHlca7MASnsO/R/VnasYkfHA7EVCDVX4OSNt95muh54dPfwUsl1ez+2A+xHHsAKJ3yo5ts5iOesbYkEp4KMdTRhYC1gGKyS3KUV6ZDadPtkWVAv9f1/BDB2AMRUlSZvVb3b40a5iQ6XcH3PW55r7NOc8TVn4NFHk6kfArRnMvYRMlYyD3k3wE4f4HTL57JOGNVDoB6NSQWxme4d/HUQU8YJVd8xnV82Fe3Hw9q/AlsJSzr0ZmKWWuKK7lLg+qBKUfBfAo8zgCI86qa+G+naYNGQcimxpJOYIYUFILe+P/cAjPoAnha/cxJ/TER9hnYyp0IjMOunzPbkG5j1+wBZd5nZlatxMJzmkvwKW/qcIQOcat5KnafEbvfIW5nEjQBKz4G2OZsU8aaP2q/lYiIWtvxSlBFqnAlKCYt9O9huT93ra7TTST2pO9FHRlnZYwXwCL3zyQqDa9xDqycOLlT8EQKbDsKr2t4qbnQIFbCpQySG8fuEK2dhKQiYE6UQgy2T0aZUppYGl4mgWuGNv6U4haNHLjEUTU+wpkiC2PqlCjjvhgHtuJLG+eDSepqIo3yNFxOuxz+6+qVt+RLRodWwO0Acc3VJAN19MyPDA/EztGduW9J0C+vSJvgUw1Yx7SEM2Zp4ieQRsM2WC8e954KyIs4ZjNXE3/GzVjOMl0emqvQB6TLDiP3YxkM6EHSIFqfhjMcQQLtXcxRJi+U39BZZQlPjvPpNqaNQeACOMb8pFyj1KRCH3mLGZQSCQ9LbavAhpUotCp38s9HKq93hTY09sKUii4cOY6q4vCli7f6o8l3vkgfCERhtHddXnUjI9Lb8sGZSIWYiPgVSAE0Q5UfBqi5AuhcmnoZ2pglxaCSWQaKb2A4AAwk1Lnv/TCIdQS2CTwgsholRysp+udxwL+9ipPdTVFnBhYmpzIlNCbKCN5DSGmw3wq7ef7Fz94yxVV/N4tDgmGRgBxAus4v1DRZL8BCjo10y2dNfoNlhK7tCfHpcIbzC9J77RoXY3AHK3VkYcuL8AgL4y0KfQJJvklOR2eVBVkIW/A9O0vfZ20Bxux+SLC2BObiEQeVqjkoujZW4Al1ntb45YBs+Bwndk/KvXss2DR64zwKpqK3mc18iYDYoYMZbHzqGBLlMv/4Jw/wcszc2JZAaA4mW9P1YwEogxwlovar2VrRkYo6l0o21ZfSN84MHJ4FAV1DHG/f9udUiky5pdNEZLWT5QGknf7lnyOyzG4QKuXjmITeZ+IuKGLh3AbdgCy9tA5t/xojrKCHZoDBIzn6DBjFxkVol2QWAtIx9qcwle5j+uA6ClBjWt/tSHw7HNm3HUD74U2/omnVFKjWh8SSzsbXa1JudJSAakHhQ5k4Is5Z12o3I1gEgiuqJArEav+STOLULImQfW/fDHoLcwdifPbBaTzI75Nvzjgin65oJJwwY3F5CN6ieu+QLeiS7fGuh3eVi9dBszXQUJopEKD7LV30GIv7bUmmswtMoj6ZugDN2CpgCR9EYmM/8SzVf/7DWaCwcEQeC3F+asnJ2/s6a6PlyLlbh6r7gBf0MLe4gCD1A0obBqax0/m5i+rgNml1aIgLxxcutR/hiKvjrSbl7DgI/smnSWzRVEIp/L4T89RsUAj3zrnJ+XhqQ10UTNiHdY+f2q6YAZRXYgfg/qgaZb67FXwnyy1nNL6L9847biRNlSFNTb5z5shYomFBoF3n37VX4tN5A54KTztb88R6sWTcjmRd9WSuFbl//1lzSa4HK5buA3I5C5+Xlp/SEwdS0cbFIVADWIXNN/3KBrRa+JKo1RmreN0zrmDjp5+W6DuvduAq31YPIT6XlYSfUc8s0Ow6y8dOl8phSpp6P51nAZsHxUEFPkvZYplG2Vnm/2Kyv1UgbTN6Bl42z7Vo7PvBYQiPhkFneSMS7eRadPVNHN2nMUJiqjDdt7onY3NH3k/ofSN5AL1jMOYReR+EOErKPdhb2qPzEFFcfkIU2R1XAfiO4hOeI22fVP/3+msgpkORZhenEANQbyrXHT29Ty5XWEeHIKKplB42EHo+IQWgId1sxmPmvUoMJ/p3ujCclW1wKGIcx5pSSK5B//BHqL9L8TNQI1yOxsHRtHPRul4Hxsnau7c8CJMP+2Ys3aZdVfws9wfauPnL/UBUBCzB2vUn4TU8y/so/qlZI8nr9qqmuRBKbEl1fveCWsaLswjA5H1+OLaB5esRr8S7qXwW6LL/KuLneqB3oGXeHFnbh/jUgcZrQV+WSuscJWZpVwg2yiY14TaXhRrraup8B145hirvfx63hPVFowXVxoeWIDWtdi4Xynl6uHoZyCZEJmNDzCFoB+V6ZBbRXcRGgOCrQf+Pq3GkuERmwEyv7X7FxoCmfUK3XWsS4eCjoV4iBvNXW9A2O7UVIFkWd9VmNw+mkOgWJH0H82onEuzxRfV/gApUu/iK8hX7zArNi25RwBsJ1B4GLz4oj3NILbx/ChRrXGdcrM1TaW+0LAAO4jgbU44wHcEoAaWUkn8oNh9r2zXU6tX/b416XREFpquOJFnD5LlOkvLwfMAvmlMMzka0Six28gnAHuHyW1aRPrNVVSWGg3hjXn92J3I7CF5C1+isIb/eEdZqWenTEm3nm/Xjk53pkue0BK2y6kIp4nbxK0LnQtRkxQlQwSCVl8Hc4BLDIa1eiIlGC8cQl7s2xTIrqQ8R0RgOXJUQK5OCMqcMC3w6soVLhPu/aF+Pqcwn3lBAOt7+8fR9XUDjW7DfLKe/CgLia2sxjXi6URiTbvOFACqs2DDRHTJAVLUTKWHEZ1NibM4cJJquWe/Xxg+JKPax98mFDCMkjplshlAc2koTZUUapcXwiHyaxxl0/ClZDdUwoFS8/bNP2Bkqs+o1SmcP7mNcNghd3N9MmjWc4AzrX0Hl0dMSFxyZmBWEURrlB0X95Pa/rNbBvDiskfJvr451q5hfmztGwpoQkRnFvNHvdJQ1h9SKUZ8oLfrAYA+L94PwQvAVdrFrirVUVSxB3Dqf+u9ZzmJALP0vQacBR1wWtp2IXDDjcb6AbqO5sKP0dLQpI/yK3QCccaxeMyCB3wHuKmDJ2pugvihgcjm4ol/c3WzpggSfpWeYwfLdgve0u8fZ+uK6aO+ZPDiTp3sbCZ8Jy77zsstE7NqZd7/1EONgq2Dvw3UEr7TRoYM9ddMlFVm8iGZbkt0UJsp8TrXgr3TUw/UoWAMEsIuKYMtHNfmj2zVsdo07YgItrFy6a3w0XrKmlej5k4qAvxYSpZ75cDVKP38Cx/sYLHTtrI5kctv0qwXRcNDqa1OcW+z/OXCe49XADd1n7UFDcIl25uKnLuLp/LzdDUrSBJqlFPJisk/5hpBfHOaKJHpkWKBM51YhCnAXCA+q990roPBbM3y8FqJf0NM3GyOIoXwUSV5+8u5Krd7VHqWndfQCfYVtD1g2Fca6LKcc3oIUmbHvaj011kQioDKuhfte3X/htg2kaZ35gWrdpRBjCin6c6cvcECU6YmU34QMHFsky4WobTECbALymyHecMLq3sdWHAiQ3hfHcVVsc6OBJn6Vhq0XRJYcqLoiIGW7wsIfRlSj+xfO5oocFOlZSgGZd8KSE06yzxbUPxd2dfOBuy9QkkasG1I1jRvMdXaphoUFxuLTKOoSs1D9c9Cnu7tyH9jtfynZTW/g+HO5JE5P7FLWYMgvawuJAPzq0WYnsCN+0MdW45B5zlnt53bX7+P0tVZRUWptGjZj8YH0HukMFMmZMKjQfryD0sQWnDdKST2nXal2+Jim6sYrFVXpCX/9VdXXm2c+fIh+Lj6Bwo7zHlPsOTrOTuGS1fNd8v1z6OguRsHmlNk5Z7K/lr3+ldcf2hPldtSQaByvsQzAkADLyldcUGhvWy4P+2BsqytHXOvhU83IoqYJgZBURd2ktPnzbRQy7B2Qi0E4os5fS/66jbrH3tpdmUaIDofEef3/1Q1skS4QtHkHtKgCz44py809az7/Ty8Y5Iy4LcKt6kwLoJzIc18zGxtoXq7Lqu6T9oaV1h2Rtb1+Fs+uIAG1t8euXJAS8Y4aTfOXn6XTyGyClAGoz2D8i83nqvHFJUxNUsRRUZxtALlzPOYYJZq9s9UAWU8C4v7hBRecsc/b0NjVMYbzlXlD8fRkeLB3c5WfeOeWM+vFytH7+WS83GGkWeoEjFMBwDrmOpHYnDHvJOUSb8dG2k+uHLC9S0C/Ca2b+8Ph616Mtii79EginvzRY084Z3F/4SiUra0ildkkYSF+k6SSNZVoMsHIoNSqazl6Py+1ye0BbvorXuVSwECPh0jQtdcnj1NxLK3lk0/HQ1EXzAtXsC0IsMYR0Rk03qF/7PMNxaXgtayaMpXE3IMMADpnCEj9jVflKxIiYMa00wx7dmU1TIxglu9s3O6JTQa8u+4M+iX7iCGua3B2rQHhBhQ3IW5dJa9ArncVXbPMelGwEAQlIqH23Fqc4uIRUD8BgKF4fjV0643hH2quKFq6PvcZxVspEJzlElorh5bIXbrBrkCkrYawVYBT3Sh1xMKZKv39/h2RuSjex2/TZUwQXxx5O1o47PTqPpQBEC7DaA0oHT9eX9HAl2rg4r7iwJ7FR7aXqP91Hga+mVfw18UxtIdz0EjhSa9zZHdx3PUjms9pyfpC8MlxEdnEg1QHmVlg0BdJAlfoSSA7Ac0IP5bOf/0oI7L6MVu5xs0YCLntQgKJw2shLQzUWaI5VrNpOLVfvArT0UuK7uwuHaxA6hbEl0lNZX67fSROUq/+c6meCKmwLZ2hWUdI7q46sTxDi7vAo2l1CCDq5zRbGu09aF1RiWrJ6nY9fP/AHRp7g7w9UFMRWtxLZq9tEHV1YPOdq5NbQ70mYhmfxliwzQrTmAfDyBLIa3nCBpMEcSxUl2AlJfaFu5r9MWlto2ZbW3wNJBJnzqR8VSD/EOL3CC1Y2fZD7hmd21/rhi3NuAWRgOoFJWMH4E8YrTdbr5Jzv5rbVabmA4dWLJYwpnSUHSpTfQkDpWc2Kp3ptxGXDet6vRvhPSHcj5Yj2Td/INKyAOUt12XlB0Pf6sJKPGORciQg452+0NyplYmUzidSwZG5zVrXeE0QUB7i4LO9d6Hz8lP4YDcYd189uwneZ7lpxfxA436VsjlkzRpNmzWFZD48Bhkue/Y3Oij4A3FTVQuMVDOvzX32daNoyHBUHsfLkLoI3dUiQJ1RxVvoV9KEv7DvOBnC68usaJWZa95sRA0ua+LmtSN2g1L/gF5TWkiO8IkQ5cl4sp/qyVvqy+R4H7oWFaEpauYPYchsl5geTECvkKkMZLbKrtFrNviHazNVqkXP9yVlVkqbpvEXd9/74QfY6+IYiC9ekJp49c6+RUNX3oyc+3GsJjdoK1r8T1RH98szAkILhTDkX94yMLyxJhsbmmEQdxnFFBHKuGEcoAI+AfWl3z8N6ge8RVW3nfDZbfKj8i9vafsNmKaR0tr+n3Ra5Gm+s1nw+3ke9wyqAgUGM/L9iteHVdloyxgFEHjrpeMqndeg0ATUvGL5LM+7dxXr5W+eZSBmHwM7UL+lN7f36ZQ5X/ZVj8NeNwckf+QXoKLTSkHTPCu9sRNxXSlGg1Q9j2RW8Z90LPI4wVX/EC12bo01nG4xnetNpLD3dHGvCriJ2WMcIvVB5fxhoDqQOFfIh+dqEkBs6P9aF8zhGgExeumt87ZCTSvtcJRh1ZGnw9aNAzu5lMLPMkeS6gTdl0yWMPIP4vyav1ubeVM1M2zK6NPD6vtlmY66ohRX9iW1d6ER9kWU037xWA2vSoP8dDzhLRkUGaY3jGdrhc9ZOtt/NRVsub9kqEJ/Ntz3KydbkPi9gVy/pk/SErhJqhFZUH+tETh0A+rCB0l2fdZJP2tbUJanAxfNhSShmCSf+iRtggJsUICqllSVQaIzYbM8oho6MpF2FQwAG7gTmtTywuqypfa5R90uLVgrEZHA+nx8mBqA9X1QTSrzHqO6oAip24w2ouIdxV+JrG/OmoavZk40NOfyCLwVZPgXmpqIQcx/OpogZuDyP27/ji9QFebAJx4S7EU6KDgbLZjujs38rxAmM/mnnGIa0f1WAqrQe2bgWVR7FVxEHXzVyP1jyiM/5ZHifcZNIPfD53XPqsh5EIRk5+UJVU37FioWHPMBa0GRnSn5ovaemGXJ0VVu7oQ9k2iTVzQXkq4EI8ExIrbHUFxc8CA+2nOl7TxF9ywoXjRt9N7szGL2KU4kRcrFg2MfZyEkJK9ryRMtIscgTfp5lfektwUz5EZMpDyBoJwUi8OngXWs82C9ozdS3U99juQ5ZKHfS0GjWUIQ/M8+1nfUc1bC5ETXm4q/Pqr571yMADVYHGbRpFflfYgJ+jAh58W0DnTxKRm0kNZFkWGas24diuoYYRFlujyXORFp3oXcKMLHxKqB2djDzDctoQV+QO6P/oQBjM4OfTeNkqRvzDiSKveArOsBQW8HuZBy1zJmP5wjeBAwj2WrBYQeQGNU2kLzhPrsYv6qLgAOA+MoUbpBW07bExWdnuX4v/RWlXM6iICsucffffm9GVsq/CaQqJZOy7Dw0IVCsAGGCC1Efiueoh4X0XEnK2k5RkGTaxHKPquZTNVBEldxbnSNmD6Xv9qn4/1YmCSzAwS+gvEa+iztKb6cmWkg7e3W3R2vJipjdkO7dY3uNeke9nczTIboXtbIAA/k8X6o8kUjAAFVmBvucyv9mPzGu8Y0fWVgdWlrbB0MvIcXZDPj7Nj6Z3nL63rlUPlv4gEwLxXFXVFzpw4aXZjU/ufKf/pSgfhdzAUIIMgZVYtkbyYOPDEpAEqsH93WwAz2IjpcTMdMkt+UbUjVL8EIizZQ7t5oQB4wtirmcJIoGcVDgTwBmc/36rzdQ/Q245PPoOmTdJra/B7k1dRZaasRVibbwdGBVyYaHIMW9tytC+XtyGGo0OaFY8dIiUrjTqwyQIRIqfBDLurFzVLLKftAFoDEtcAEQJJSCeQo689C3rvW8ANk5ZM3/0UPCcISiOXZtr61xKVICc99bFeRngKdTb4jRRSmeJT49QTOG9ta+fqEK4e5bKhEzKoWic5rLC5zLocFstD6fpwp96X5LU6YDFXitOGDmYfYv+cjny8RF3cLMVrPTZVvCbGPf0IXMiauZa7eydkwP5E1vrf6wXfIiS3xwoPSPhvwkvg48qV7VOgEtW96v8exh6p0fxbcBAD4M4uUZHhQxvSmwt71hAl6KGyQ1GusS/DCztQAA2UNsXMYa4fRWGiS0tz+EjtUayzekGcH2flrRurmBy7L0zM4q7yFB/j3Paz97M9gwvD2/7yiMXuAlbQMcZoJg/cMI4pM+XurC0LLl7oAcW1cKhLYHo4wuz8rb2WErbzLVjokHI/K5Aup/+Nv47qfAGQnsJShbKHM7otTsAjXtsSQD0NkY0CKKo6ASNPhJXJR+EofdRhh8w2I3mclkm0BVvgL0/BvRsgf6WimDfTbi/6sjcL3i/cv4rf0m3deOhP0fCvX1lwkWPtfzEC9N5NA8SxG508rF2d8fNv8aQz+C7dHpJPwKQs1A/y0PRsx5ziRMtjcM5QSWCkCqYCJITCMfCCYayDHouk4tcwn7OzSDDJHEnkVvNEE9IU0HPt30zJDnObrWBE761qHQlnraNZLvkZ1Tm/6u2cO3w9gmj7oLl+mha3K8aKLMPSgYv5FdT4bpWfr5u6klaoykJL4ZWEOT24iknrmDGzuWjj7qdrunaxIhTSacaXzhT8UD25gL0z3+eV9TSDsgsXrc48HDLO8a6Hc1yyK7jLzEL7WFWBMbtp4Axh2Nke5RNbOMkokqnyU9XXSL8mBNdLZ7IZL5VLt29+D3jYE4SZB2WHKb3QgEjVry49/4qyEDl4sCDQUY+KDGsLeHB7QmUmkVhD006mawDGcRVFmTl5ee7a8ucBb3jXi+OtwjT1J1pA/2kPsU5gppzTXsNLvmLy7wArcGFMrkgBfybP5UgNHAAA0W0UXiuYwdjIpGbj6vBLwIGZJjvzhDiW2x75JAk6va2l99LMVOkhp3ORoqsnWufrKGR3Zld1ewi08pjK278Ws9dd2WZsrhMEFmYdczxYvtFcdGqRGqBC0tuoIz1z4Y/NhHFSvxJyYZQLnrVghMvp/GCM9sIgtJqs3GbL5ar6KFmCRkmydnzx+zQGl+KpoQofxN9RfKLJLZ/qtnAJxjgfFcSv61mRF14YaMDVRg5eaCs/SAFv2hLnDxxRi+yd6TIdjNDdYSVGbps46B/JgEFmqgD2WDXFh48kBU+3VKYCLch+JJE5SfgaluLoYDxmciBNcK22NUDUTFS7Qi2Cn41z0zu0/fmkbYq9s40Z6mXdeAKWvWkDrOe4PmsA/2UtKxmPlEzxc7I13epCOE+9g/7kV8dFpzy+OUIdd645Wq8l66iD38ZCfrkQVBQ4dM09kUJgm6SeuCy5lZM/F7hSA1AjZ/NLOpTJ8p9Rb3MhYXCyC6GCQdZJBKOljjW3aLyGWZvbv9XHxmOGJ76R2zRkgHdq0PVp2HJCBll+M/ZCgjzqntU4CJFQkKesV7oJCYbunzPpeUkbSTSOrPUWhiRUIHPqp3TLtdOJbJPkJO9Y/mpYTift6Y6/CWk0IrDWZ02D2TxiUfEmeOntwgKUmA6mtrlzw9OGvrAALK/luz9433fpOT/2pLFO23ZP3tiULH9/VY+mp5HcSNCbUOkbELRGvwTD7fZ3ytLDDyqj43KpHHuBg7ihrSEOgxE2Jg45rSAW7cohEyAsh8OWWg8o8mDve+NIz5/iTbjlIONXK10rnv2pXXCWyn8lNIS7bU80qjXirwl7j0+VZhW4iv0IAQfo1dUZEMeiOrbeyE+6uetcwKfqsM3geFQIiDUvNbu0x8Qooa+kYuJ+Xck4oShcfe3b7Yb2lDgQ36XXbyyhjSsyn2k9hlN5Tbb3KcSYhdnHfdcTgzSvbTNQO7zGf5h1efUe6G7QJPW605asUrkAUd1KfNyrDpxlNOBK6JwcCcBy07eQlB9G12mRhIt7p8K1ajMBOvhgkA2tM1LHLm3waeDrluEoMaiaFi+3bOBU7HnPP6QKlsNuilaxwP1eiu7OxFnPyOe9pAQxP1kzxLA3UU2Lf59mysxsbnShkYz5LfqfKFaTAhr+JJorUxf+30PeE+5vLluMCAz00KxFOIdhkmPG4ZIepp+kTFyzHQwl3YVsXe49R8C9PYYDHtB/rvQL1yDAv5GdiC9fRcapWXfxCRAtzfh0JTw3qaA9tKaUiXjrHt8tvtubwUwSXSyKs/axb+8MYzRl5OsYpwvDZPTzbvzQBCLiSF6yqJfw6O6nY0GxGwtqFX9rTEub2EnaJuZ7XibmAHkZeRQwD2eT62WLnw/pst/WtVREQHR5CYxvnomhsj4XBmZzcz0WelpjbBZKUE4xpG7VF7FqU/YqoVUHV0oMOtbKjMp3NqMLGkZ0dm1R+86kYVahfT7QjkS8euLT54D1pVm0JeNU54TwnVKZoXFIaZG8lJ1WTA7d5EguBkX+E2hOsEngiYIRW8rM099I2NVQEQIk7ETFwQyvlbEkS1KM34ollo4U+2f0e6hXsfG2S9cAinub6+9EY+iGmQoZFluyI9+jMWkczoSezNDA7sen+BfeZMr5xlY05JBG4WimcHlnxzYcR33b93RznOGCA1wuepwHDB90JdF9mTarHxnah+hCKOFcjg6Qz3T4cay4mjqycIZpPdJ17+N6ycBeb41zLjj0bOgx6xNtnctCPTqXdgxfyKgxBGMwNSYV9xSpA3LcFmctrS5iWEj5YjIlIXPtopJQyaYIHucQI+i87VwI7eoNNjJg0kE64vGUyJzafod8qg31QgmE2xmm0gfTpGSaEn5JtE3w9LYYlVFg7tjbyUpcc9h8TKSXSfXFhKFtBW1bFsM+ie9adeijH/CkYoHjnLC4uQ6VpPkv4V4OS5BbEZUqt0QlBVdPEowU8CI0E2+4xkIvRWAPxwkHctLhKuZUDPmPgYpuPBc1NUWDH7qqY/gSFFaWuyjStz7aLLjWbeoPST1MAecA2q5IUK24YKdLBBNbgAjBMgB1fZ0eHmrjXQgCXzB7SAF65fQ6DvvTQam2gkaOzKYTNFZ6oCd0nH/3Fz13iEqvtILEvOB3MMBHufrqeK8NivW1MjgYFZqQck+bnQW8DJcnOZGfh9dLrfVgNor9vKNZqEP6+B1YKL9byWwSa+ATAoCK0oTi+Nl3SRI1M/EOfi6CXm4o1siWjweGnqgO7mTKDPS7JeaVD8TBdXLDhFj3vfhGMrMQ5gDyH9TeqkI9Nc+UeWd/272P6nAU40d4HNHExacPh2Qj5rM4u8fUajE6N6INCeGbhELF947UWU92yno1UMp+kSBT9BJFzCHy6aJ5/5lTHlD18eVyV72dDyNTFXmd0VdljgmCk0rchSbEBhSN4bM75h8tPhBDZUwZZSUx91sw2ymX/EmracXHRYdct1Lu8Y9fgiDETJ9tstX48wq2Y0Yxh3odutIBTD22VZmC8ld9JxPgLd9xulsY0Q73FezpsYLPtFZmcgcmNknq8Pnfzsu3MOouOwdAxZXiJHpRfuBe2Cio/8gk0JsoihpB7Cc7caXB7db4COVP9ZtkitLfl+4A5PynLodHJ/9cHZKfZ3/rGwj/QNQvRRJleuzk6m/kAaivQjU1xYtOG8NLS2q9g6g7pLoonc8uoadgQQbbXTZ4HGvVYqaqwX0Gw8biOOaFHIxiFuEubKVd6ShpHf0Fa9w/N9MmWPh83HHhZpDYZvJfyMkVs9TT9hcmV41QX9zC/88Jm4niZq5bAGucG0+K3Nk3g1tpkzp4x8jv75MDaEazU5wwzY8nbj8Hbq8yjE7Hkpn6dhHwlUS5lWSfkMRvGz1wUE76gUDASbcxF3UzhBKSNwfJVtvxPIZHJBHQapgwirUjNuEzUMMU24nbFqRe8S9s9gKwabOzel8XiM/gUFrFmeJe5UzoyKm4Lw6ObEzyn52ATopHi4/VyzFL6HXk4lib04QzieLZZgxA9oxXQIQuPa1xe6IhNICpzpihgGfBqABOzUy0vnWzPSJ5PYfORYb0MdCULHqkA3jOrMOy8Ia7NW6PXo8zAyByzqKywhibpxUMjAKuJLzC9JReA9N4G/M6HMTscZ1z3pF54zgysS693pqovZZsgr+U18B3t0KqUKBwWcQK3latuB5a0DWB6DkxAB1OGP6UMebrlLF4tnwDEYWzkDY4DElxEATVBxbX+jtC/bgeGcCTzgDsud37w88nK9BUjlQM5POZteUmoDr7M1m9xCNUcAW6d9sJqcph0PHGpvLFodPywyTqodbrzPRF7WBraTBjDjh+ahzY0ewlJPmw/OEWn9gshDjlrwLJFlkOTxNy1XRTyP20pEkAFFkYkPgjlrpx7TQaXTotQr0ZqWpB8KvGGzK+CSKrJiCOr6MTuf/xsKGksNIHyR+dxK2TGKRqq1v0H67aaGHbwHDhZkG5iXCNy10VK1yTfaJXx1OVm8Eps8h1FJiKENm4hwml6w2Ip6IjxEJ5VKZKnNHEMLIOi807WeW3jWcYQveDrCAZlSrLrdAdqWcob45mmEi6gX2WrdDv70O3kcp9Sm/rdg0i7ld0As8NalQzKsVzEVi+O6o25Byf1AOuNl4VCOSj4f2BwSzgYEJpk3La5FoZs7R1YZdI1AbAf6IiqdJNrVYnzmRTwY0d4EPx/P5olYhWcWYPLH1r90BOdb2DjG3SsJV8xxbDx3Ln5S+VwJEeGc2fhwEZtW8EbnFdX2F4QMAbyLN8uZL4ZUgV4GcchgDWu6hZuT0MJWTELcq+M0hWQPLIU7wXLqN2kJGaTIneidnmShXb4FOM+xBZV6SDbEevUwvrg21mQYO+sUOd5fyGRxY3n2Pp8taqkzxZpprztF7Dr2cx4oM1ye3Ick1nZtillusGKkR+L6zBZOvtlLHEkBn8CZZamYBvY0BohRD1X1zHzXTEulNuF3db3SkBLPwbq3e9N0GM1CE+Hpe7tBibG8w5vqHqhfKCvZKbmLItuX69CkA62rZMWuGkxE6xrFo0gSXGSGwsDwRDRcGR0EmiNMkIZTGdIorpLzrtV6LSqVbdWZJpE0oUQLWfcCTho6pfZ4O+U0l/QvfoMELvsgGwuRdCJRhVN0Ww+iNHxPtwPwBIgCreKWjTx4p9WoFCndtq5PovfoRbvcQ+9MzHwLs1Ul1VNdPJI84wCgitpTbqlusGKFqBoU7fHZ49ivFUpRDzMeYZuFwzXj3RICFFun8U6u3X5sQMA0oOhEGQP+u9srYSEgQsNQsriNbgZ6nFR8efD7HyZbwOo8o7/oFSXbzAbKg4KJYRSkuQr67GR7MEcaDaVX78Kwy6yX5I596b8vMjNNpPzHgNMxEoM2kfCaWM50b79kkc+ErXQvr1Zh+NGXwUIwkV5OWDmzXXkJqqxP7diFz07k2Q/t1td1bD4Hoyjzxsq4Sw5NGPY1NJkfzyNnH0cfuONF78GanCOvKFfCUXt4kSosLgky1RoRKMqBuv+L/C1rxLJFEKeHKHtn6m7d0NUaHHlpTZsizT0zmXzQ6umjLG4u3Ws/R+fYMURhywWPS3AQIp7KDu7AYqYJrbA3nEcYykz51QN9GQ4Tc5eHo/KI16LcLbWilPJIuk/PW9v/TBZCD/8PbnNYaqj15bszAmeaWWpLjFdWxCbpcwAQajtrXbtljJLpVHRlUlv45vZeq31FwCedylHu//6UtVpiYAmAFcXV/STSpuTvQjSoWP39bC4m5dpxclGZyOdQTHyA6Kz04q9jZ6XZ6lErkjoU1UFiBRHz8HVEZmlFhej7DsQPjh9nWqXZWmanRzXVlngohXWsNjMnNVdp86jscrpqx9YswQSi37Zvg2P0LQOx6+bNOn/MU0QG9DiZpg0H9jcvvykBuTHZGBPixy+jyl3LIBB3CT4ftubS4PkqIWgOZuicro/jL1r++w9A3dg5WXTKY6lYdK/l8jNX8Y28BML/WwDNRWTHDprVbQNcFca79iUSRuKTO/hbqgN94eyWlV3rgSfCgZao0d5kWYlIIy3ieupGEvChOpoIlvgB8dRqIqqRQxLY3otri6u1WqSLxL/VnKxtMCp5sXZ88dXSLZcJ68dPTV7HXJXiNR8BOUkyYBO2AIla6/cr+b0PloiXI3R3WWoV7xfXwXh+rCQMA3+9DWgkvlUM2eWTxEOYiRvn58GWSLoi8DN9aMgQotOpDgH7qXBWgY+MUNWFh6n5gfzrjs6RaOzN92I0pD1sT5OCfroq/dfiygkgjxQbFCyCGxuXQn/8WPN1kNGmIWlg+2zL1IRtr8fo0jyBHmww6t0tfz8rwnFOFoy04mxs6x27DNpTxkhjnwUDcBoShLuNTdSnXbZ2CBcnMC/u73ERSAyUD2KCVAxe+RzilHa42HTQCK9zYd9bTEFGBv0+8KxG/UL1qZ1kMqy1zq/Q+aUPp4wHbSHkBErehu5xghYp60C9ByAcuKCNmG7NyCTzxtmvnuzTLRNE6gkUQ74/gxY86tEPN/5DRxQQBsOO6R5kt4QXIdSfjCr3WmrWNKIPHY+nUYTbjbYhaDlH26lAA2pmd7O42wOFGK44RFztUglTwIfrg0D+xM04TwMfmAF69y5S1//6INeYASigdHyX0qFcvDLRCEnGsLfOsutbyl9g0NknCxgn08gE4e7v1wTBbTgQBMtBG5/1cdRcBiszmKo4ad+zOGJuaEIKSf37sKKpIj3YwFaRNgZjoMGK2JFeHJ/LpSjybviHLjXE3nmFmaB/a4g5xLCAPg17eeaceAegreJi94D9E0BYqv8j2iOqXcNUhrJ3B21YsbVDYIHJ6uNd2Zy7t3Bn+5d1j/4IV3MFUbK20jxrpyr5n+qBxkccE6WrjOgt8zTkK1Bm/UVJRc8dXi2ZzpHUTSCfjz4AZjAh/GXrD8HLIDY+syyXnpELH2g1rCf2CBRJ9lLfb5bRwCwtEO7457Xzace/r0VIpILxfjp7Ye2tyMcu6grBr0mr6/HK1+scvJmSZx3wGNo34f29Vu6yKm3aA5V/CsYLk8m1GFte87OF8bgSCN5pLTLu0l0PsL60IXq8Kk1FC2qcRC+AaXJN9tMZJIXAvFQj1uV31MovLkin4JAVTr0lP2Dc/geW62P7ML+6B0YdJjLLkvz7o5UVCKeX+vlOAfZ6ZMcvj+FO+gjxVW/kvA7vcNBDyl+Mokf8yUo4cOfRk9iNIcAs5dldy31gte4LOYOVj1zCufXvRGrtRJiJdq8fX/8yAy4LY+nZuxKJ/Kz6mLxwF0lM+mdYWjCld5j4s64QYLopfBa8XstrqCOUdt04i5PV5IAAv5ZEtxaKbvOG4FZXC+paHDoVxPPRmwWbrnpfT2YT8lGGWc1RPTAef0oX1Dv2uH/TENcrE3G0EM/FMe+LJ3RTz3ab5sV7E03WWAy6p+CbsCA6kSgpgMU3V0JVD884N5lT2RU0lScTgP+zu/5trfc1zKARj0RxKIKrTHOjB0AtnNs6E5/anPThW6GczeiaR3VY2F4FEI+c9EY7OWZ/CBDgXPyrvtB7G3PxiL6RCriRw+X1GtdNUFLE6pvXJFwLnq/LNDaJZhmCiHAyC7EgoN6a0pHemelEsQxDFDIHPP1MegUUPk6UpGO5joLCMmKQe2HGggFRsT70S8TMEiDG8Pj3joiMrcfpKg/Jsfm6nBwlOYntDgdCAAxayunV92/jxozUC+c89w89c5R3hL/djTaQKFLHTwxtZbB5WGPf6X2U8fTTUP11bh7tCyZH2T8k57Zs8R0tXICYEcBy5TmyniW/AktpvOi6jmE8WUimwVGs9n6QoQiHyvu6icfT0kvqtwCDnym998vMHzYFuPvw+Urg5u3bWO6mBpq5CqA62PGZSQ+wUdG0ZlZKOlpaGEDr/OOfeAmRAbqTNL9oiwJ39wDHZrNiBPfUKrkOBvAKHKD2V+0+C7L/HH2oe1UgZ1pxpZHYZ1uYhbJrFsptALInStwcoI01PmS/3reAuaCqkKqh1AW1eX0wmA9daaeXVxvTsVtPEAg0HSDHIX9bDDj174FCP50rTHcrLSBMuvyyiccC4jmdVqrXNUCUXZLthjKv0xW+pT2GQAypMjTbqbPvVEIImcV8CeyFCJmHNg5uUUIm20qTEP7JZqKwtFQYcnjfOtlXLby2CUYrS9q3sWme5T0QS8IIN740oHOmeNuA9Sb5VlWjynVrDRbmTcLOrvd5Z9v2j6roeWtPdg0NTIHkNQMQQ7nSwBG63eNVD0QqxWid4RVLAfAF8fHZV0QSvlZNHYNLc95b8sY+rtYqA+/o8sGyYhFpQAD62/wUzbR2qwVm2r8byEkh/da7/UxX18X3cdRlGTi/7MJA8ZQ3hpY51Fq20us4e7SaFVvUm5z3GlPInwFpEIU1RSxMPzCOKRhsKPYZlwYTFUoAdyVAboFhYOpoGO2KN8y45ADdHPrSlrPahhcI4ZCV6BMbz+6CI+W+g54f9J3paaPEMNXwjqf4eSx68fswLOPAwwpmuPMo5hqrLiJ8rXr4Do7F28jOngtn+gwoGx8/2XRaGggq5U6x4hoqZjGWJ+nwsiyKAyXyk5HXqcd3329Fp/GeL9644MmOCY2Ch2GYjNoKYsurQGjeAqA8vwKfHzF7/SDyiZMLrmCVnihjyi57ewpC5t3TFFsapTqMqqFKQQIalkPPPIpmiGbiFXhPgcFbtXStxKm9a92jps0Po6z145CwQCgvtpvrG+y4iYaO9JhwHvMUjKhaVJ6OzBpy26+pw6cNZ3D/iyv/j7lT9bzD2VPWbXh3yMSmJ4XAy0URiKGw1DUhFIp0WPeRIP5dttYSM0Ss8/5+RrvA9/PgjyHNEhCEk1Aw2kC2+xdzlTQBTUyn6hzKpowfHRBtg3QIKD7duml3K9huTXJa+wnJXh+Z9ydV98qcI3yKJVQVNSgyQcaFbw3TqJ0hwxO60CzsZcFst0C3YkkcxPyMkA5Gos1ylHvqO/iyCzlca/uc1dSjHhWL2Dn3flTIPhSEuIUf+IGjI98mYKnUGY3GjycAuH2YTQB3K2+Taw7An/zev9XzRkdMFW3R4zn73AvBbR0yQnywtO3NF6O9e9DC+JizabcYZ8YMN4IiRzylLRLX/9CId7/xnhSHz6ZYMGoR5qLWBKMqtSZRnl+0xo3Kf9xJHJy1UaSMfYkv9BXxoRww4WmimlEpL9RoTRiXi9uT1FYr5WVMsOHHKEdTknbcIIfJqikoIngZHFhFfR49EE0PcERSAMt9kGJ7G2qikpDX1fq+LZQ89fpi0J7rrK0glTM6iTo++fRcJo/1ESV+U2YukRi+XMqLdFHbFvDfsdxEeiPUjCiQYD+bgUv/WO6ET6QmfCOo3kquwVXyuFS1fnYh0YazSd2wm5dBaspp+MBFxSEoq3r8H01t65AQuSgcA9aPuZqtTdUpzx4AeramuyKhqgusieKNFo5kUvszJECyGMSzUnFMJQmtDvF5Mok6jDqmu8pNhfBZe3tBCVIEw57n3CrBANMnR1L1rngcdzXfGV8yT6vOXpSDFO3Dsv3ywBCs414lDPxfOUXAXbKQUGT3swKJ6We6ed29KWTPXC3B/MRNtfDAXAmTPHZhGlwYR9fIf1HbnWeYUoxNy6+qXedhS9MMfW4VgiwRC9vbHOFm5S4xNsgn4qEXtuzts506B8OSN/fCVdY2TXSGhp426bxK3dqU05TEYHDGfJBTDBmxbgJciBlXIsKekCP6GqUzlfoGPe7VUy6ZRcDntQBYN0WQaEtxTYL3uO6s3MvtMhYGnTuyQkk1whuEBV/MMI4CCLOSPNJ3nWj1CmpFVXE0MYsHXZaOdNcAmu/e4sYUP3Mmo+M38vPbuGcwHIlyKke+GKKjs5jPt4yZ/N4NvOPXJtq2RJAuo19t6gETcRQQJmJUf+lc5246MiTij760vhz4kiRtWGP3wltWM8XAhLcWBpDPlruBvB6ONtrgcAbW8PRI8om9k6Cn9sro0WKXMmB0raLEopnarsFWb2jAhmLGuw4Z3Up0JRxoACy3yaGjRyM4VZyiKAeNpIzh1CdRBFrLVNdew9KUDROUQustZkzMFnZ6r5Rk/FXqN+Yi532IPZQnjPlCfLUqd8yWpSArNDpXW4P36TSD/GTcjGO3llDIhbvYXlEtOgAsQd6Z4AMIwg6Dop86DLb4JGGgBtP55F4/8Kc88Mg8cSty3Wfk+F2sglv/b4uzRo6C21n5DH4gKmwdKK1ddBwHn4vp0AHbDMcf5H7GaxvMRUrhMbM/v0RNccmajzig5msJbYuMM/l0BQETD1D6eTXqYcmlisZx3GR53r1vjt0R4qFO2IwHNtDMKnvL+hY1z62X26CsBdQ+9/juqxvq4xKH97RNVtloJHcuI3OrJYBD0PqCicC3VLn8GKnJ8wt1oQrmm7Gq7x//bPSFuRXRTjB74pMdWA8hfvXND6FPH9yhOOWzlUE8G+zbtgTdCPkmmrWvsoIS04e9bgA7mGtLezeq3OH86p4Nyo98zAng6ZrDaMFPSc6kVo6tJ0bNRsDkMRwjRFdf10MkganzWMaG/szOwfp6JJRaEIi2uImr38mQGiRk4cV2fk8/fGlKmb3XnMO2yK8BJVSOfzstIfE86D455Av/sMAVY4ZiYfRmWZIHNptjMKRyZ8Eof1SJnNcYmEZUzwEzX1BeZFRv8HYcEh3BBx7PEgdjbSpwnl3Po6JTWRxXDpM7GvDqL4zNjCzT+Z7ti5Nea3XoVmljscExZMlq2wnvZPozIxGN9MkMkDgkzh8uLWSNeeoh6tjqL+3w++pe+5bK2R2Dlr7GqZ32XwhJP1U0tO9qupyfMmQvEAUK8FOg7hn649ZsM7TgRRcMziby+BGLGRfnNp30Wt/go79Q6+ApbMjs/NetxsyBRQ7KmUKfb70tAK4O2romvUb/aHEUQq1osZtb9bXgSOMt6WEcMFreM2SyGpzMVyObRoqvdzYYZbnAgKriciXiQZ1ydrWBoj6K8Zikv5JFXABPtF7+RsSj7ERV+x6XrJDFlVFqsPehk+SBKfrB/0gALNjCyj+P5E9LNXgYo12HslxJ3NwxjRfWx7NDSBiSsys2kdOxTaI6b2jLVk58yFYPwPfQ78xi/vIqz1BEVbmUt0jdq4KbNqBUXjnXk16d3q9UHvEz3TAyDIVRjEALwfW2bVNh1kFRQCugK3eZ9QTpsHsD9qbAssxY9g1YXk2z7IYQ54J75+flDW2kVEoqM2LhoCXHmtyxPfeg1C54ZgyBegipT4BuMxXVXGFMMJTwbltFoCCApKS6iGtmdnfjsL0KX7ZrwhPen6Tbja8bEQp9A/Jn6Rb3PzutTs4VFP+L2E+WewadEdo5sEtXzn9h9JJPz5vx999c579ySUDKTEybcqihiLH/a8MzH0p9By8V4nwKs9zNpRmbpTYkgkhHijqVi5c4plEzCnjok71Q3eXannkRChfdon6s7ErJHt4ioVwmwWhmVBQNCrH8dkvmjU3cqmNOJL6r6T9hYg2TU+mNDGAsttVNt6/iAwFUZibIbkCBhRUArj5kH/jXpqwACIa0phLMun2v3UWdHwA1nILB0YivFzHBp6OD0dxNzwDrhED0MTsTLL1sEwQLkVqfZfRUtaVEWicn/cDhB/sUCGxbEePf5x6i6p+kiS/lU0pkZE30TvWMq1Wms7zWOqNDHuvXCqQ0Vix1C65HYyZwxYjw+FgwGqHYfditHh0UzlnZNCuAQlJPHmc/AieyE8/YjhJ7j6OC1OqC5ZsAZxhMK5XbeKFvEkdVCdJePSyYjiO7GwBw6tnKWmgyG4qrtsull6QcnTRSuA732Gi71ZPQbgwogP0KuEx13fra/sceUiNHt3ApAUsWKT4WRGWWeGCjPlNxQB/AW+XSlfbV5+Y12UK1TVNn1CjnmOa27rGXGKDZhwICqTUHp5L2EnLimVIFMtkxKTCjuXITwVX3LIckhNrIeG6N8qouXW2b+wA0ApvonlyRxpQgpwA3ocXBZ5JFjv3iP+IVGkhxNVK32IbfIaSDPzWkoQhqpzgZO7tH70NY9lKioYZeU3rjr6Y3sCVmTL6igYg80gHlslsmIC9G8Pz7vq2/vEDzyxw53TzaQAPTmeUc8CgMS53tq7mo6Kjtedf4PktT7NGbU4ADINodsPn/jLzhNMkqkNkIVo8X7xsFb42omrumx2PPNDJAUS4QFMdYCyCIYrl8jw0bRGQlmU9IC5NDmA52Q9jFnaG4Y1oqxiZvGVM2UnHquxjegM8qkbiqIU4UfdAZrfK//19yhrH70E/4s06D+gpC1mPjvw/2+TXnkmmGgRtDug22zTaYUpnWjio3xfKi7YtOOzUrUXbmwEkSs0ixWR1ia6Fkqm3Kc00watMQ6Up0hnLTjblUWAUV7/bfFVb0dfCwlLfhY4i6afEP+AcehbFq5/LtE8UcHX2LK6ZLHaJkkqOe0VxhiZdSS45i+ePiiciqKpjIt/HwtS3ZQbTkHw/pmBPW1DA3WUhg7l7uRyiZxXGOxZvc08bSS8fhDEPPyjZXxJ8SOAyM6GyqEteV+GEODNDx0cdNa/XjPdPVyaliwBsBqqYlyoVEXDsI81m1VQEYPFbePOgnaipRejuLTFCMysH2XuwEA5YjXHxR+7w7T43ThjCJ7mAmbSk6DbNNVo7ujmNXAi6xiJplzA7tt5S8yCid41nm57LLTunaNWN+9Ku8++awLaOkw3t8G0/dmjOQ5VMlGYZTyMXVerzZXdGn14WMh3Y3ac02lAq4iYRx4puHsmUBIILzUWP3VigqwwR6gYRbkxUZX8pD2/G6U2BLcEcMfDAhDhPskFUSX/qP9G2xALxSzSoZepQ3CsvIezEVw1nm/lnacgAT3CpsPqhO9NpfnnbcF8lpFcYRYuGZ/8WPjU7bqFZR8Pxti/GroG9ob0tJcNxec9OXv20IBjvVQsIwNker5hsuqoDVEPBhFG1Sy65qld2AzDwQjhnHUWbPyg9GNUrU85iINENbl+ROZz4ZWHDPsZUsbTxJ1fDh7DKKIXBsoWWzhCKhj7HmGIFS7CMAhnRCqODhRvfYWg89HrmuLmkBwfJYGLXvo6On9+refgiIqIF6YAkIE19F+dxPJ2XzOe1LpDb0aEIzglaSDR7991vBwbHwH5hy32BltAwX0zG59V1JnXesbSoF837P8KQx9czJJ5s8/65CyMVy95+steMW7evJHQ79Bt+6xyoqrvGUds5UNxT0JVWUxQ663aNZHSd7OUtNIY2FGpueT0agrulFwm/pw9Kk3RnbTnjCQuqQyDGUvJdtlpPfG3/oTrMjkTX6TB1TGn7Zft4zqmoMMJw/2u5a1tpkzASDCFHAC4vm8K17peIqLuomkUNFtcI/7c1KtmL/09zWRfmTlCNpgWfMhpFzGo30CY/fKG4wLb9LCCIgpJ8O6Z2AKgxDptfc/ltsIaC6c+jWYuNI">
            <a:extLst>
              <a:ext uri="{FF2B5EF4-FFF2-40B4-BE49-F238E27FC236}">
                <a16:creationId xmlns:a16="http://schemas.microsoft.com/office/drawing/2014/main" id="{57C0B23C-2B45-4BE4-9655-F65FDE31EA99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18852" y="1610507"/>
            <a:ext cx="2743200" cy="4878716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14824"/>
            <a:ext cx="8229600" cy="990600"/>
          </a:xfrm>
        </p:spPr>
        <p:txBody>
          <a:bodyPr>
            <a:normAutofit/>
          </a:bodyPr>
          <a:lstStyle/>
          <a:p>
            <a:r>
              <a:rPr lang="en-US" sz="3600" dirty="0"/>
              <a:t>Mobile App Store Activity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>
            <a:normAutofit fontScale="92500"/>
          </a:bodyPr>
          <a:lstStyle/>
          <a:p>
            <a:r>
              <a:rPr lang="en-US" sz="1800" dirty="0"/>
              <a:t>When compared to Google Play, Apple Store accounted for 65% of app spending, but only 24% of downloads. This trend held for both games and non-game apps.</a:t>
            </a:r>
          </a:p>
        </p:txBody>
      </p:sp>
      <p:sp>
        <p:nvSpPr>
          <p:cNvPr id="7" name="TextBox 6"/>
          <p:cNvSpPr txBox="1"/>
          <p:nvPr>
            <p:custDataLst>
              <p:tags r:id="rId4"/>
            </p:custDataLst>
          </p:nvPr>
        </p:nvSpPr>
        <p:spPr>
          <a:xfrm>
            <a:off x="446920" y="6490156"/>
            <a:ext cx="14542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Source: </a:t>
            </a:r>
            <a:r>
              <a:rPr lang="en-US" sz="1000">
                <a:hlinkClick r:id="rId10"/>
              </a:rPr>
              <a:t>Sensor Tower</a:t>
            </a:r>
            <a:endParaRPr lang="en-US" sz="1000" dirty="0"/>
          </a:p>
        </p:txBody>
      </p:sp>
      <p:sp>
        <p:nvSpPr>
          <p:cNvPr id="5" name="btfpLayoutConfig" hidden="1">
            <a:extLst>
              <a:ext uri="{FF2B5EF4-FFF2-40B4-BE49-F238E27FC236}">
                <a16:creationId xmlns:a16="http://schemas.microsoft.com/office/drawing/2014/main" id="{C89B26B2-CE6B-411D-8F92-852EB5749795}"/>
              </a:ext>
            </a:extLst>
          </p:cNvPr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1_132213375723555888 columns_1_132213375723555888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E77FBF0-4658-42D7-8B4A-4C537AD4F87E}"/>
              </a:ext>
            </a:extLst>
          </p:cNvPr>
          <p:cNvSpPr txBox="1"/>
          <p:nvPr/>
        </p:nvSpPr>
        <p:spPr>
          <a:xfrm>
            <a:off x="6773381" y="6490156"/>
            <a:ext cx="21765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hlinkClick r:id="rId11"/>
              </a:rPr>
              <a:t>Learn how to make this chart</a:t>
            </a:r>
            <a:endParaRPr lang="en-US" sz="1000" dirty="0"/>
          </a:p>
        </p:txBody>
      </p:sp>
      <p:sp>
        <p:nvSpPr>
          <p:cNvPr id="10" name="Rectangle 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Q30RXwdXtvkH0USJ3+j21vfjSjPiWLb10+vV+UlSM2rfV8+oXcmGu1Ko0hRXYA56GIM7tfukAZcnpn0TgIvb6hOMWgNgYzLSbE9D3ggm2qk0seidyjUYNZHD+l3kOEG/hEnCqgxT1SMByDo3uk1nWZyDGv4yqVWkd3dHERonKyPLJdKql8W80Dh5qrBoP0hOIz4LzVrDZ0XP9r5KnLIWsx/zCuCnZM2iSVRkrh2FEHN7WjQ25PsvtJbYdzYLH4hvIHeuoWgW4gfbZCkOTPq9jQtCa3fxl1jY8KQxyvlJ/ldcPWd2ZtYWzMlmfWdgDIYWBcJmJNfXjERQjZQJptgkilzimygIWghVbAyILqWL0q3fv5f7Bb7qX3ZJoLsSMICyPOtCHx/tbET01EbQjbLL6v3pinK7H1ymHMjDShVWeL7gUpcQ9m8V+dXer+y8fh2yNqScB/FXDJF1fb6nw/txv6cjg3c30TJP4REpbORjPgavCys/u3kCMz8LzF8zSHWL/CByYmDv1VUF94Ibt1QDIvt17m3i7/THtnB50kBVdrUz0yxd9fiqfLIW0R290/8yqI4SUzTGJDIJalJjOPjtngitijJNXAcLIsTp0BDW0pqumA+0oZEWnSCAugPFwn+6fB55Cgaq4baakL8WU69O24rQ1/gi4Ac8JR5J2igK2OQLFH1HVc3fvRGRVFudovyGWqMjsmA4j5xpKf+nZoU9o2RLla4bMZYUhoSXrdVoKZpwD2rKgYjhbhJaegQtoIup8bhoFUZd7zgAoP709udivvgS8sP0ePp4eWiNBkInJsqw44VBUouzWKbJIBH6z05fPCqlcV9HcJRJXfYveQqlniXHfq4Xy7iT1hhnMcO46+bZOGw/taZtOEhBXZHsnKzRK/VT7lbepIEc9QZXb4NCqjynA9P0yEl7lhTJ8LLhys8Mgf1u7UIn/Ijplo90hqor2iwtbvlTW6ZNer3IrfeIr9Y2/4J4ifVGqaDeU42PYKb7bc2nhb0Nx8l0psB21P+zgNpBTFPyl2JMoWKBl6JHY9/2GsXXesHm9XRstXsaL69JfjLDNZQ/nzM7rL1L61JtI4DSrY6o1LlydOe/LVtr5WWA8JhrNE2KjElpBIzVuxSWrb6peNdlGfBgLLxYNgzuVyMxcabfCsLtrvDkyWmWLWUp6OQhq3z7ulivS23WUOV0iiVVsRdjr0sHTrnl3n4nFenOm4unD+3gp796aHD5CbJL7kjI1oM+inVahHlo+c1MMfsjk1xW2FZYG6HfIQXa6efzIykEj8vWM8bmpSqDBXSmKypGkiug4PDSWBwpprmcFlNd6AQ/5BOQvonz5Oi7a5gGER7r5cyfrt10MbbfMLlmuwh0+kZwRdoVUHwcxEIG7nteFWd1YerfDucUwBB5jLEaiGbhqklPVnMPw7TBD7HvakYN92WyGEGytn+Sv/n5SGzzKqKq9udbczdLr9uCynaNHhKaT5G+Kh2Fb2eIO3+WJcBkYkm/L4rX2HDmXyIfrOnhgsI3A6IS28Pj+dbsVEBZeioBpx7bPPujALkWMk32aUW8yey5eXnoUxsPCeJYpQa5l0oy5bSaxUYhK07cuakRlOSqfLma+5SNC2YWuAiTiui9vaT5yWazeHjQtFVA13S1VmsvWRZu7XtbkzTdOaqeDHYtBYlWjNu0hnpXwYiz2wTzXVgCnvdz6GRPqHanEeDKpqRjDL6hXhXORfgPhFQJ0C7I3JhDeR/xYaxfFNpDleoklE/KkO05dapkFXWaZnuX6nCa4atrLZhY4+AJYMRwnCd6XAgoHl4gxv/eZLB1wug1D/yBbENCvMAJkejaLAxNOK8fKY0j3jA/4tlZHRHNi6lEWMQkOTK7XhBOTvDiZTvWziPjoW1c0w8uRxg6lkFolsxPl+664P8NkGGURN/wjrwTc9M21tDVTTcZAct5zQ+a28LCi64rt9AhCr1SGcNvHAH3UR1EdRzVBD9SV7hC+5iZRBJT5TF8hlioATluf6gsK9csQZlJd7R1iWtDvnm4YWyV8uCkbr+8NUIRhdfY4ufNHQQddgov4KQlNJoPOix8Epbd0Ic1QxWN8EM9Zi5ml917nhPNd51HGPLld0abWQzp8QJ78blCzsdClfWIf7dO2oxMD9mYXiR6lV1Mw1TmUfTAXrZNckCMn5Ejz1SD8qry5xMFTx4nLtGp+WCljzLnc7HgJhbK8Fp4AKfGmMQJNHanMRzFNcYQwX1Q3YINomK1wR4h6Uz+8d5gUnq3TAcpN2pr8hEwBqvKw8J3TCaLhfUSFMQ2npbienPq9cz3RsiGaBTgYTfxQheYkkqFDgXUcQdlSKtHwkNQp+lObKUwdaqG8dXITyusUACI+K+xblrEYPvIxEt4qEp8eI6jRZCZaGLJBX30edV1cRdyb+0wkuUmnG4rHh0tRRybhRSbR5B5/tWI39MhJXOTq2ceX3qYV9pi7x1zmO9SD/arWAyryzyOsBz+uDeFp+S5fumyM9+Wo5T4JNZPkeUdl10tky7SupF0OiomTm8BJ3aHAfZkrdjJ+cxmnKdIY8T+p4xKewndpSZxULH2oHBsdl1gLwjciU6fWKCWZZkF52jmyOCMyRgiXO5+BtJjUcU55w2XRsk60weBLc9EWJEvODie+E8G/CEkdold6QtJeSSbghPK/cvVpN6BnKRtE27DJzl25mmxubcUjv2QXMFGMEwAf4/L8VCwZ+rBowfTo23ofZknUyPhp+gdlxfFrQ8rOB0ozxSZr2z2uBd/K75KhVUaIVwfg6c1w4CAJqR2SJW9qDIU84oVwmPIbDX2SexBqyXbNNSDiOX+yd8GC6K1O5M6saOS3pAKvkudoXAFupZIk6CO79p15Fx+ZuID8vOxFF5asT0Q4iBKvNOQFPxJy9mHtGQ2yoyY5zEPBsoQo5xbnDvain9pzVOfSqdxVtVTIYNfxZ4V9/WqpIdIK57QO9aENpET6b0dyFM64kkRz/nx/aEOWHjqbRSnYkWE8HYrgcnOJiG1C+ej2JS41vpsRWw+aEXw2E1vPQd61L3uUuNeYcINiXaQw6t2whPL1IxmppaO0Vl0FLOSS1j7Kf/8hA+ovSvwotrXcttRPH0Jwt1lvm5gX9lNT2YXTSkCDrKK2rhkEEGLasd5zhN7U3Sy6M4SnHXFj5sxru/1HZqnjPa9aGNYRsAc2QJlDYPwLgLvHCJLdDf1ZMv8vNsnHrJb5HJajVxcisQ58rY7TxWo/ktASAbENh9ucKpg7dZ7wq2fmVtcZPlT81zIiB9abu96h0DAKzT9MTVQXdh5evq+8ZFhl4rRDBQlpzz5PyEgmuRUX8CdpIbkoukjbSGRz3bQ/hqPOIZhMlK85s6p/2sh93HXbuY+S0heba3SXZZHF9bFLwr9lHG2yAxjU6M7fLks6CxFr5j5B7IxZPC559fvFAYAC9ckRgngX314qXj/rfJC7EA13VJasp505tCycfafBaV3T1+UadYQ7n7HV9Ljowe+XgUooFc4gA6gkQezJ73mhAui06CWjdb0BsJ0Fo4zrWVnC5eWqMYU0+e4deit0P3jIVVUXSBmxGJpXAbjo8PgE6KcEIG5GcgWYkCiMnAOaA6D/TvOlbE6rF5rSur9lOuE3Mn1YYdUhBlnY4AzGMwb7bPqhXTv/M21MsnqgNHTeWgLVquDzZ6NthKhOdMc/Tadn0FQgP4AiAITXMDlG4BhajNNqnTtQPeJJ66YuB8O230G+6t7DlzH9pUemNYOZebAPIujp7wbC7iel2Gq4UXVCd39OHNiydhUfuN4bKJHevCFXrrPf6gYKtdLtiSll/vEvbRzrVwoTHaitf0NfSOxTaX/r2AhoExypW2gn0s/5MvKsg/xk8I3QXwWqlHlGIflEisClVUNsTSKe+IbsIobbIUsbdO/89/hCEKso0GW2VdSBA5Q3fnbJxhComxLYqSuazH/lOIyCTuKvw7qOawxVqLgsbGPzAuhGlAGaa8QlqM23LEqrMK1D7+8aliVF38V7tIGBYIpF9yKAMG1ZrwKSxWPB7LizRl6tmgapJ7w/y3XwfbZtt6sm9F2ai8z51pdRk5CdPNz7ZYqrZhg7Fva9ScEBDxAC8x+7cIWF/M97q423acBevE+8hoh4ZQlcC6VrXt6aEmVj11Lu2ZEZuwcsAdgFZP1JQ79PQp5y0xT6ViUr37u7ArjMTBP6Phhj+ECx4WG0LPYWEjv3CELMbxY4doRXU54dVp6OI0jWtpeKV1QE83dfW+sx279LEPOWF8n351yr5FFy8CcR+3GngAoACOZyG/4KXtBA3XGtP0cmZCQD5WNOzOOrqU8fmHyJjAH3UdlgJPheA6kI8npR/iIDr5oMCsNsje5Ke2qwKruN7aBCo+jRfHHwNsaUSFAFjRYRhLN6t7UlCqOxf9IfXym15YHBwnQFzPDiO/x+x0+GnWhrlcNRwAB7Aw+HzxF/Se6p7BKk9nfRRWDq7c28Mn7sJWgMNHWvqqH8eWVv3VOILeSLZdnr673EsStJs++PGvyJHg+a45dMkoMVwxsBk37Yxascvu/2pVIQSz1dxIOnCf+wlDfCJ1ZZCtKX9LxgcNBDZY6dfFx7WUrm9bcOn5SUmVm0UxohBYOIzW1J+Y8RNuJOR90CMZtFjTlA4iG6+ZLj03loJFv74N4Qxkyqto/wgkSP1nmbFeiGTslhq/7c7EKerUo3jw7kUP/8FoUEI7h/xxc+DVFEa/jfgjNu4FQlTOhg479umvRlRdhS5+h0I8KiYu8ZvruPebgAtp5itMJoE/souqPhbEpjSSwgmxvSc5GrCgQNPhfN656DCoC1ZfymhrMkXQ5mTL/Pe7VKAUEbF6emeRP2JzjAzbUciWX0/Z+zFxkv0Ja03xsEKQT8pC7B0+jm1Le+q5pS9S1W/lU78dQ7GTWJB4wJiTBmCVzUf4mSeJDTG7lqiEXuomdX4+NSJlMpYiClKnETjBUUnX31wnbFYFqsQ06Kli4BORWIcYSDNKHRQpB3KXy+UooIaDHZw8CxwQEVjwKikH7lfID2gJHGee6VDB77KFD4TfQbl2fFNRKAmlnjk9jSfA3r1BOuH9h+DKMpycHm1uirQg4Eztav2TgRytOfDvZmSQeJ8MANMG9L6vgOkZR9UhgwbJ2F8UCVxpl9ACdYfrPV9W7RdJiZJBtg73VZDJdmNgTscCR1chlUtAOSxKOjQeoviqmu74nr/7fse92dJwl3oi2BxvQIZgYn4jOrdFu34Ou+pmJIarHtjZjBwYVuMc7h1w4bKslsPNueS8STPV6UsRxwy2o0gOw4yO1fYvBvIbgwW00W9vHUx6veqYeVR+HeTvcQ2qXJ8sKc3/jUk7/Wn7Qyt1zGEK1fnHLz1eSzXzwEn4difEuKU2O1898kQP8VJOW41JR2mIkWanzkO0mB22hLapB1q+Ykj6MD6zUVJjWotxf8AyAa0CmG55dahIrgMm5z3xVId6oJJ/ViMI/HWxu+ET9Pcmpx8/dttounLkbs6+KN7pUJnF8qZnvbksuv/Y6h80HzeMzSvuZN+IcjGl5DSL7O3/lfKQO89qWpNwZzc1JCjmA6Qokmwxg/RE31kAGuP4bahgirNXZwSQh4KUl6ZHrmPKSOEhv1GXEhzUzmJWZEGt3QfxLNHbmvHBa4aMP6L3BQCl026iWJY+QusWeiyd1tuDIXag9SUsBuc3qgL+pC1kpYHuKZCD7KCJhNNJfmtuKTNpQfmMUwGL2Fg82fBgy4G45DLVzVvTYyysit/2K4AMbxauxDvBd8ElXu0w4+/L62NjK5jD3QYhXSoAAJo3oo5RpKNYVN9ajTqRQJ/PBxEif4vKmciCbL1gg9emtAAqAnLvlsrlN+1N5NUD9jXlN6o9qPGBza+qcbX59ixP47SziATIIZjKsb0M8OTSDqR0T1NF0EO4tPfnSZgxCBOiva75X3yaPgrjK5AN/XEZuSKOOIucjdPqhbnkzUjj+vTs05rZY91g4fzQmSMFZkYM5rp6mjHKHr+ITqWoPRlS5VMjIZwjtIhRQ5Stlja3YWnRd3qMzwEPUhwRlB3T8aLVeX8+lTUBhmNBgh8CfrQaveAuwlAUU12wf+rC5KMPTMfZXd06C2WGv04PqyIo2QZIVV1SSl5rNKW6IXEMe6zpVRrBB5SaOq6VBqkgRMA/76fJEIGhu0pDCcScMxd3ikV4Oo6QE303OZd9ZxIb5+Bdx2TL2mc8bnGGmEnn7pMrOuqvn2t03VW4Abl0RS71dBFO5xyJwjgMjPbHgHYT4f5II9ynGu/NNE2w7gORRaNzWJuh5JwlHYe9XvzJtuyiQJEujzQC+iWv8kgLF3q05U9NmbLw1UydDBOW87asy2iqNgyM6ng6olaZQRAm0Du0DKarkHyacP+UMb89Gh7BEI/jRJ6rocc2KigtDu4rQHYgg9KZZHd8iReWWSz00lMIUVQB2KL2gAi0oIjS1B72V0Z8U1gZjOoBsFtqxroOzAR84fF26CNvZ2Rd7XsrImw0n7s+AI7IbZ/zYppaSlU+Je7f4TW+EvpMAsuL5vQHotT7nhAPAQIGjKfsuWVU5T/T/AeSxd7pPdSLFKEcn6hpHJYx/1NTxLZjf620pddWCp5DKm2LaYX0+XygZ9kVlxeXk5gIVqbke/DpHsma15v9s/lbyu14NU/f1DbqLAIVN5BlQ9bsKljtCEqqybuW/CjbGLB866rt3fEEXAe6LxxWfgo+lcEsulAFqShv8/n00mxuU6TsZGLezoR/cIL6Ogbn3c54Zrd9GMtl+w9oi7/KtT+PUud1jnKu6mubFWPukqyLP5DjfokAf2uKw1g+LkmnEsALYznL8nQOoRFLudh+oEqIfUvZvfTaEqPcNzchy11ELshkvlmzDWQSdScgo/h4XRIek9RUSQze0qO5/KpCuiKT+ohCKB14x4dU8MODhinyxWQY5DPhCy7d6dGQkK9JmMkPtTFIZwOdpsV94/DTH5zrsEu5if/j3ajmTrJqOu60SmFDJCCV860ux7bQz+rsjwqJTTr7+Txw3rcD5ChQYmJuVEqgsQ1oo6m9PJcZ8MLkmSDnbzYbuaoBeACoz3fJA7GDKgSkJRUid8Whx78jifD00tra+lfUMsgZrSC91vKqLKBeI2cvBcasdt+v7/SKfYxO7ayzt0Xa8xAWCAsbNwYQ3zuyHWG2F0jF4EDHfszpk6ybnH73we3lHR+zKnxf4s6YduoybOKJ8ThC+k/eCuo2ISIM1bzOt4hSZrMZwkl5e0DsiMP5t0cuh0JZN4kUCn3HPm2BhCZ7k2otvoWNKiOHllBjkChOaVSy+io0pAaqv6C25WbuQ2ZB5jo8DzgcM4Ub0bLRbiTPYK6VetAbWtY9bornL/q+JhbLSG2sodD2hU5PHv8w/09i59Lo17L56VNJ7K0Y5XV0hI8b9nIFwKDF+Oz1t2pJ+h3e30MgA3app4cuI/viSU5VLYbpvLqWXYmaOexXN/Mavzjrg7Wf46R9ACLWjwS/b/N5JfJMpNkN7mIzsLCJwGae/drDaAjqvVLSQXYqyYNbqikMD8OJAQxhycS0Q6fyPDDQrI5Um5LSoJIJHImAKUXoJuSUkFoYYBQZDA5f40lVviMDZTPMm9Sih3wAhLkfdNkW12jDD+N1zQ3+en27JmCETKmAJ+h4cQd4U367JThrW/X/E0VZfuxHbKcWLuN3DHOOKDfe7+U98aOiYaBGoZL3IJrR3pHE2GujU+2rMs/WoaD8pq0oaskw0TpsPlqVTLAe39ZsyoDP0crC7/Zb8m8zQTjfGZ6VzxVSoNeesnVbNjQ61AAHY+Aia+r+0nfXdwY4tAUkb6A8k/WNSCrxY60/AY9XM3fN2nqlsW83j4LevNqTEgTYk677fX/gOC6OBFLZ8iugHSMZScY61gdErwML2Mj456obEJgep1vPnq81m2p7xsrZhjLNQ/HcQEakoWZKolEoni8O9MXYv5AFPTFsMVblmyEn9oqKfJE353s+QV/RTgskeTbQdrKQaJ6/Z2jDU+HFDTauKh0h8tqrnI0JuwYz49eQF9QneIyUkLUs1uVKSqNmcktRuE4B+RTWFZ1h5SDMZSvV5XXitLuRmjXJx2qbfmxF/lNm0bQX8dDa+l+OUwDESr4b/80Zws5FNGyTgX13KNJxBBydUgUlJdXUVrKz+0HNUi4kYQupo3N7cNC6iV5/8H1B1g+2vIq06ArTfz0r66cPE34sskCxnzWnbDDpdykbBf+Yh4QNRTripbQlDmZWBeTAufiPipDVSdQ9eMxEvw5cU4JGmITaJuhf1zPqpuY618QpF5mILf6R3VAIjafCKYQu4sAKC4YgftRyDFbXb3oKNsbt6+3de43xoD3PDFbGlWZrPfSwn1YPCcCN65LHbpdIOWnU+D/narOpWKmumjar7IJNW89P6/Qa2esdYRgCDzh2VfXiG0fMXub5dsVVvx+XrlJKobQn42mbWBCYZkp0lPPLhNOkrOmbK6c3mKdxlBnQWkSXi2JjS0syO9/C+gfh8FXpWGKqGt8zQDS7LbI1oBBOlwbhYSj62Lzoy4hO7cXDrrxEUTj0IMvF622JsNV2ko7s8PAUGsS3DMuBwIAe2qcHaIUwdh3GI5H49R0BpfuR/KBU1VgSjURFfOVpwCGaMCnKA6xNN412NOrtBDo1TgI7x/fTQj4b/rntPPSj+dlJY9SnfdCS7kqoicq9Qfs74VlIpze7mFfvycp6HowWjsN7RE56+FpAu/OCtqYpPbkBFAmSwIpe0p9U5AE7TrfIK/aeTAx2TOJAoSNBGECjg6Lco0mhkuYxjxHLtuQf3/x28gDhOKjXHWBx/tgAaY3f/IUfKAkZQBpzn+qlD/rQilUJZMMx9YzARxkvkEmQ4pdXlI1P35JOpRMCOI1Klo0ASLNRXBR2NjkCeHWpNTXNjvSRqyRyHDOh9lba6FuSh1yOMFx67pKWM1jr9QBKK+DhOnoyLyzhBQqC7f34QjhDsAvh38XUteZivigRfFkiJrBZlRAj6JeMK/0NM351ofdKdCyHZsGZfGdOMmepBU+WEFRa7MyyMYoH0RygiyKeJF50czRjvPKFBp72iIVduhpZ5AMsHXuOTqwcpAA7NI10zwn5ge3TSxdRd4FxCFCHNqLvqgpaoXZuyvyvaNjzqk7ng5sqyFEpV87/2hX3X2ScnJ9lDKkbvgInQuCBfBcCs7xdszzHFEqluWmICaFzLLfYOS6voHPUsjdNdAa7LQp+aqB2hMxCjtHP5lScAzHwZL4T7yD5QknDfvlw2Gx5j9Og+wnuzx3FrVa5roUlmecTSyfYbrQP88Y6GNxVNruSj9banjqym9qHkPVMkIlGAV5Gry7fgqwG7ckniDgotWjwlRDKCxJNzp5My26JJkCvzamZph9Ppb9vC8aPmyta+ywYa0hdBZ07NKFHhmjP0JvDYAO2WH8qwdr8BzGfNEBdjkwv+33J6gKX0WbXKqo0AP6aCL6LF8UKOvVkn0Acy5a0L+urbIeugkS/i9my0ElEdYNjyDOJxKiLKZK7/ad1hFipS7iJFCCF6t0XYIoYn24LwoETkle04gTpyaAo8+pyRV/SSIEQk51wbFhaxQN7GhhO94Ns7LSVZJd196wovAi6fuADlEpi9P1/5uc9vTB1oyoHJukUJiHpWmIIoYU4RmbbYmiXu8sgKKbv/RPI1aeSg+pp0YTaP6VbOVIYSYx86p6sspVSgojapaZUzHJYjGzB7FFPGjFzPSTYIcG1D27NqLNhPpFmrwTDQfCXvhSp8VFFUrYhsmVcSDr4f6BVI1feChGLOn+DNhIfy8QJgPHF8FueArzp87pqGiAoQRjMJ/Z9/10Cvl/DofCC1EVOPbrFjgrjAfTOSGDUwbuROhryXqG7iNuEELTWSnyMzInH1ZJHb2D7kqS7ocr/FmKr1JDh4Xsf+i6/84lpY1C07Y68tbqYAxjVZ1HM5fiwpD81Nv5g14KbDJ6eOYj3wxeTi2zLhSfi4Syv/eWMyXLDYf+KtX4wxLNIUkrxeckZXaIDWPtPXIf/zKYXWgYF4VsMEemTOk+NUO97RV8q9t8lwvvbJW52kvq7EE9SqvEDB+rZMMkb6pyAMMy8jtTc3WhpinYEwn+MA5Y8fH8kWNAHZL8heUnE6zg9iUnwefVvPiBKQB0nWcB4CN7pvCFBKPDcquJrsdEYIeYuFCTpQFpDmfxETpoVsXx2INfXGDRQWJtXUNW2Dj+hEzpg/4+a3Wg91lEsgDMHsMMFShliY2/XJ+WVGpz60Kpj1ZojDtilVH65f0ZZuKbMkcv65eaLLPxB2e5alxY/RszbDch59j/vzS2Kw96XI4E+iTc0e/jl223DXHvFPPOCcVUX98s12Nz/makOHr384O9ZLYwpxW/vdys5L57BDvxd83PMKPmSfs4mteEQtz7eJBO4NWO+9f93dokxic4Qrk/0JJHxMJVdGgixPEolplkGbdZvb79Pa5ALNMyGOGYlkJKSD3+ZkHs54mrVEGbpBkUoFsVOUXl7KGthDYCqhTqGoZCvbpTL+GzMCOd7Bklz4NSDRg5gK0UUebvrp2PXHRIw74t8GYOT7nPM644aTP4N2rLmLwtA8LLaNaBXJ9VAkJjHm2ZiZcYJ5sxnf21gm0w8LkxxMmo9XFVoX8r4A13mntYjGt8E/gYVVGYa39pwxzShkAC0WCOV4lKuU6TsCjjbzVf8FPjxv/LGJ4pD+n+RJpFXIiGQ+V8BdIstnurfrtdEOWiMKf1/XC237N1N8hud3jvinQyPI/Cn4S00b3eIgmiNYZt00gFddJT/AJXFL1JnyeU1Cx/UDnM0IUAdL02Bsae3HX91PnKx9wQVfGtA6xIzmIoETOIsbZu7a/Uct5IqXbYPCxHqE8AMoaMU7hAxiB5trfcICKsSGiCz0zYsURbe34AkNMhpdLzus0U9XsCY4VVbeo5XXxia05jLfmD2peUah6NjYbS7ESgXq2FZm5XU/9jHwMOfziMxYT5gxaHPC16vtEPceKHCqGnoYdWuPCkdJWRSlzC+VnNjwdXV/DVx8aDb8unhwk4HxsvIDoy3fig8/+IorddlORz0FgN3fefEICaJWwdgGXR0Bh7y9ALX8EPhtCmAkm+yj+zeXgrQdSMjoFqBLveLE+lbuRNvNraTx//cmclbBWWlULxEEGOyBbX5c60BXCLaPEPc13bD0AbXh+gN20DmY2AYDmDRo4k7zzLoV9AXD1A11cFSEvVBWot2KgxAotJ7AH2tHlR3ooQjHPGE//m2qa3sMmf2Bj83xe9kIgfUjTdyhmUzI+qZIpaYHQWBnMai3YhwkC2aU89vGA77iZIIm7pQIopVKQzML4aX9fEBjVvCqBi8C3wgZDnmOHXoUlT637wWzFvyyiyAA/+VLl4ImsdoLJW9TW2kbxdROA2w63eAZii6ler+5ENsC/2YnVPCoKJu8hpYD0ZCgF23P/5HDkshMSbc48RJcAzoTqzjSnyVffCJrlUH6J51eDNaOAa/4kg0GjS+YpdGOwOc89iO+pG5LVbxcE7dnDYyr1pnQdP5rIam2bgH6b7AnbhG+jeAkVdNRC72ssOzwkKOqy6LSxwZotmhSg1jLJaNprtjGqaLwPMgPVeT3IyRW+X2SExqbwDd55PwmZ2N21hTqenPmo2y0rb/cR12cCcmAFAJpAAstW3zDbEijdqmhxT5dcFZKh7Pi+XCk9tWZ2s4rOaq9grTdtOC2JC9CahfOZYCBI/R54WcNImRhux5xFUfLfTgdna8YgGLTeBx0epKNwA8N4L+aaVamQBRqhuAJM5ACeOnav6Y1hfa0ZnZoM7uaJWaB8LQMPAEPmFfwO65JzCLtygRwaeMbFYcoKnCBxf6a6gKrkd07H2bFZUR6+FhVqrntafY+DWCT+BqwwR5EsA1wPSUdy6XmUKLEGFi+H0IIdbRiZO00WDAA18vjc3mB5PEV9qGwWYamEGc60WvkLL69y0P54K/wAt7+0iFSVuA/PyupNQ1Ql+KVISHT7F1re/9bBVMFrAwTLqaVvkkk+JMo8nuow82yIfddH7FHXhFF9sfB8JjoCaJrKEirqw8Egi7l07ErpaS6TGRWq/gwm9uwjvou8/AbGGgHOrRFZJ2GNHfpMuRj4DacZe+RreW3d3eGXkx+Fr3CMFRjX4zbZa8cVr0lsBb4lyK3c4lM6Q7BMNTubZeXJ6Mhtu54jXmpd7rkQzxRdeieDL7/ApqXXH1e8Xdaz2+F1R9uW6c631MPNXJtn9BPwS+Z1bjlcJeSbVgkVea2MMKjJRLDuSZpSx8D+N9gOD7WXEjeNojB+fJGuN2bah9agha76XUKrb3uWO+LBigd3qqbi6sluNzlk7rRMeKQk5hjELxurWFJ6Hp1E7RR+CPmPNbdrY+vuq8ipGCW02+X9Ih7JVP8euCUaNSUkTtL1Pl2dWABAUo2n2vDhfnCCZnFClSdsHdf+aQzYQ6QVamsfsB2llGTLpPCR0Vo9NklSZWurByaTAnOuEJp1mHm/4oD/3NyXPCbohnl+Yc6PbghHRFcVqYbs9rOZiu/AmKmP7/OVSOB47FZBKfd8nw4DMltU+mzrn2ENliX7bM97xpznarSiyP+RqM3grFAvVKPtTs266st0TMkFnHzP7gnv0NLS0yhkRqNEl6U6nzH5j5GotHApeR5aY/U4FklaiFUDB8p3uIsPqvTYigNOK0BxC/7iU209wA3bYwctjQd1qU7jpW97AMtVGZobzRF84oivmFBQ43l4Z6YwpHJmSvTB1Wd7d98II3WvaUZk+1wVkD0oCv8+cYLk4NqyCOtwM1hLoYFMxrN+JtoHh7VdumEoeP+tdAD1ZVeQIrOxgOXP/DCOr549So/OKG68TjxLPaiXHpOJZ5rnDCCo01HL62DNy1AUt+b9UykAJP3A1DpdkgfTR84x5kzcNP4J1VbMHqWSL/6Iv42FYeIogMRa1WdX7tFrsAeKWrisHDRfvtHB7Aqb5tVsDpBmaIDtWGVYaJGBkmoJlIuFgbqVPZuooL0hZQKhT/aJrr5scFOFoFVBUVmTUsj+wY/IyEKDqCQBBL3BaTH7hZmYF7zwWJUdpka/mo1fXOB1mpYdZCGZ6Vmfxm3n3U+xhyTl6YqolgQTn/P7rb7wlmjkjSF/kUPLd6wYjfzxjQd3iuT3saq9FRpTa4fZGDmvlsTTNRgLco+RbfnOCox4Q7QiV71WVzxrkUs9j2A8+eiKL53wsC2PRESa8bQ4GrONMPsV8I9FQaSx7sWzcm5/sCXOb4udId2aRZYoS00tFzmBAqHhqASUv1hZMBxbJdlxFbJkky08uDGOh/aAwK1fWNsNk+JzMeegBY6kZjGFxhZy0Kx/v+BMxMND64stO5a3vwqP6jmOpkTCVStgbBLRBgp7UpiVnJZy1knSSQUMieRHpkPiqyWfwfSGWCaWAOtg3T22W97VzdmxCurEs1SDV4ZwTSA42rGnFckhzN3GnrCrCBc71wX+cV9nqPqLscMYWCbi565k97MqwHoPFpviub1XuBhh/dpWUCGp0YJWsIbfv5DnpU/JYQ53l1bG+09GHyYQn7/WCHcZOMSIJhbxD7ZZSSMCGd3mABrsZu9C0FcSKZrpJjWqYN6Wr1piGogMZfvNK3M/7AuClMA6+o0HpeAEE9JPBTGOSkqtREEVA2T2muerLeMyvZ18o0BAVkOxFXB3O+18hUPuzfkzlDM2jkw78TwVDqdMWn5PZ2gYipWq6jaP3XGnsC5QEWyMvtp8ZDS4tqrOgqKgqFX6qfOfcpssQvxkBsIrmzJYMEaP+F8+KbfIn7eFIKSxIoiWFGnxfPwBqZQ862PiyFzgt2Jj9zK7kCq2OqHpxlKcLTkQ9xtPBFFhqYoVI7ysc/S2UqtKyJZcIB/0ceiu18LxGhAPpMOQX19q880Z0lnVJtfEZW1ufTtMtQTsqJETgIyQBi6UJc0wc5DEsjVy/ubF7KdaSMDf/k3WHpCn/EcCp5TmXlcJx7cu/36VRkBVBKIO7DR2c74KAdLXPs5iT8izdmKE/2H1ziegHtmiP/PLupS5UuedUhz96n+8XhoJd6TjPB6N8/v+0rJjBoXCQ8CSzHg+c5mg6w23MldA+Fd0NJffJ8eY7AjjwdTp88rLsVyMe2vynd6WA38IbfLyBEugXKmaO9OLijNnpQv8yuopCeszx8fbdrZfjysFHJ7TY1RpmfbogIBCE1R4EWviEsmi+y0GRCMsEypbsphIJS6ncqnmK3r3k6jyz3AiC9htm4TZyPO3LUfMSYOpBRTKlBTLgmp0EqiVbrbOc4ZYeem6HX5/uufpF62S/DNas56Myp1v8/phksYOvrZzcBebzN2ACf1hLcPfumdZNShBFCMgb6K0q+rktFNvvPapm6vzC5OUXeyoqzNnpvdjVmybdvhIFjTN5kPbtx5GI02R6Yg3udK1IlnCnFuW7dCa+s1NR/00wAX+FqmjybNAGiD1wZcneW1hd3Pk9T7qXnDQb1FbUKVlPjgVrMSyZJ5rHCAMpl2uTnXjSSDfNFOy2sT7ctL3ztMO52FW4yD458efildonAEbJjSm3AU41FyA8q5zAgVJvqOvsmLjkt0JLc4g89QEW0oSj83yzUAZoqYfYJaJ+tYdkZwpWpTUGXew8BEbq/CB1u6owluthMRWLrCDovx8eAZYLx/ZVxquaEnlw9MUa/YcVpq5NHg/26KD+3tSU/SQvOZFfhgKSAU1rr9s5skTaAwowC3yfm2zUeQXb7r9ybHLdKXiKsYmfIywIqd1AOsA9df3tkkIRWW5c/mqGwJuyEY+/wKJoC79P5AsPXjOQyfaTK/qtSgP8qQtuoaeEaHdHOPABxKJR+roMqVfPh0TQpMjsOn26L1x0CQ3gcELh4Tb3AQT8ZvaxIw4DOOFRf/5pTRH6sIPufyk9xripTYBChjL/UgS+fb0pQv3QlII9fgJWW4qJGhGCcFnK6jPgbELy/6XKvrY+sKgIRzr62NaoSnLcPVDaQjtDfJj2FaBjFITWWG9rlG0TSz6xz4LFxcCyjYOy1Kmf3NM4CLR/y7kNSG/vV0umZtO5/8zn3X8amYjL/QPp5ul4xGPmyo6azlcNCOj+GZ1nGsBFjA+u0gNCudho2mKuUseX/6RHPTBL8lkgBHWpniEdSOGAoxEjxsLp8FL8KJ2lJkg0QZbywA4BgDVb4EGyuczkBHTFCeYSHw2ZeXs0FO07NyqZQIQDFccDBN7M4pzxGVapg0kcF9Als05hWMxSGaFvF+7ZwkHUQLN3ggeMKxpmkoLmi7ZkCzKvq4GnmecJ3cY9dMwMktvRGgClQvo1kZMhlxxYbwr8LaA9CL7m1m/Gzly4aXI2K21jlWHqDat4GT41umPe82Er9tj0LSOhOht2SCNkcM+kC7nlMaO4ltnbkZhahuVa5sjKy+dMCt23/gFNPZxxAZCik3cuyDKZwE30jT6UBILJ9R6JKt0JMPCevEFek7/i7POMBY7M8cCjfvt4ekOm4fbgY6UNetdQIZW53P6zl8vugS/WRz5AuRExMLQRh59bIoXD5YpVDqYDVpGVcYYS3wdBKWoNExai02l/QxfpbvIn3FdgrA/rXtVVesuMVNZhOxfhbdH3yLmyUICq1O6KsGlxsytiqx7bRnH6e0EAe+syZKSgwlvmxJS/nWyxTj0ocqX9w8XDFs1romF5Mc8K9VXgb1AT2Nx1nmT6w4XlaN47S7IiWCLkhUbang7H2s1BEdam8LZgIybmHOrvEgtyAD49pwyFX/ieGy+XTRBS9rVQdRp6eVMG5/4yc1wLZq282LVVM5/RZn7HO8WnjrnWgEe+eZjc0ae3k0VNo+vA2pJobN25DGjuP0Hcp9HSbDWGqAUM8j27Qq5BjJuNY4BCS1p7SsBrsctaBabXQCVK0m8roN46wVcfEVTz6r9g7/hNoi7l5SJ2ojTFKg/iVr7UuxO5QtiEhMpaX/iyTKwvfa6o0wlz3FZlILArLaubQBuntU7fnt29k182xE0Y5vA4cUJuD7JHIHuUiY6+MgGgRkBfrnFtASVbmJFpacje17Ro3JJGjWqzWIQVxHi25MWRs51xfU8KvIEQXkZXYFlPYM1hfqzuTK4DLZlBSk9bWP3xtt8yLFgxCd5d9zdse4X5d+2kltNoKMnmLpCMu1PE+LFWbLFFZcA/M4GcGh5g265torNp7M9S10x5GgHH8m/A5sQZkuXkzYAvkMoYm2O/k5BxnWPM9K5JhfpVi7ceFNVKvpswzKV4IJWr+5unkDlzOm3eQfpjuG9NrsumMs8bWHKGgAAR+ZklfXBzAFnGXnAKLLq6JMgNximBrGzIcj8a5tH2RRhCGN5+qpapJPuSxsu8v46y/xO2b2gPF3Onk4+GgluVo6NXZ/Ot5rx1QyS933hDs/cSyEonXl8sXIuKcja2x09VqmTcS5yEywLAUgSbixjKafku5T9eNshiZ7SwUbRJz/lUc4nTAsSNCbIWtX5yrN6cHZmDuP8NznAiLjpCep9EZtTL0e8foZAlkTe7ktjjNJuSx2WBQ1xG6zi3Pr62h+6rDyiszXSHyOdwtTQRtjxbAx/1w+23MO2QjbATSqUVhrsVkgOu2U+jIfUPOiZ0dFP5l60vy22/yHEaC4mLO8YI2P8kzhzd0UvPaIACHoj1v293AqKfvIcgJ0qesGxmVkn0jfOU32m60ryFaxEQ2eCfLeHJ2dw8G63XcxpEMSYSULTxtuKnw+/qtlKaxxe0Zi49fcKEHFDL1/1uGxe0K7rj6AqMSCwpxgEvtL4/C6VoVyDqL0gmtSf4ZwAbEKKrvff5zQhIBhtxlCLn3qDNyvyBI7kcdASN68nw6EsMacws9r3RRkYQ5KYT4wSxgc6+s//cFw8XiP4DP3v30YdPfeEcxYAwSBAOmfW0X9dv1YFXs5ein1970jZceGjvFaVOLoqljmJwC0XIrYaIf1+b2zeImjORS+JwR2nbB5uzLU+LEVimtNV1sI6qj7bkugHopQJrcvHtFYNzfUuRHTKE2OEx5U0+aSofmGyDx/O526aT/76jUK4fj/RFDCUBHdPgs/Znc8CUTxSnIq2runinlKlxKIlXoPEqmKMKcj4vBZkV4aTRK0xsdUcN13QhkgVvYVMyrms9ew0thwHtNepL+I0vshDlzTAxORADrz10PSblAC2yNvOwBgPi+lJBRJZcq9QdWaRvPrv9TQh3d4kEqkX1GhtLnWwgxiCa4b9r/KlHeahbhA0Z9+0EqHtet6xYvpvL5+p0nW9hJqH8XOp8oSZ/Ds1TFbU4a7EPE7Im6NzvebiSeKHeIKb0BD7A4maXGuPlsdPTM0F2ZK5UycoHdqVg/eqw5wCGVWKiIP+uBHWo+alRc4+dkGs9n/YShHEeMPTpEhGdbK1L0qq2GyOrVlhcGTbpzvUP5DRfm5O0sYmzvZTLSK/YVrIsYIydedJ+Hm8MKLi3lT+nvwfCZJ5l1gmvsj7LMqUaWx0OVd6MMaxRyweEvz0YzdhNESocB5mOezy3uGeLi7Tgt8ytwdcDt9RAtlYiJol2zms7n4bn0kPdvYFMibqiaKtUwy890adnB9Xo97t3a4Rc8CB7p+JRT5RWBHEI+HSTXdeGqc9NlUjgi3oXa7OJjO1Vs2RnuVyPDJPi7cYv/4jaEHxdn+VpHu6gpT9SNFjIaLOMiipVtYKAu9HsSP1On75OZMklRDq8ctqrsQwI5hrnhIm2vyFOMIoupxsCtcADBBiYz+46Q1V2WSaTCewWo1YG4uLxfSoUuLBzMJECjHHgBT8hfAu91nKxIk3STcBazkqNjyyb44KH3z99i3qwMojXOj0ZMMZNxeibslfxLsDDYon88pR3MRz3T0ANGt9XlEfzfKmzk4GY4HYDyj1pJf+Nq1ohaCV7Be31nHpvYe0kdJ561aiofBbrgMX/Q/BJoKE3tujiL6dDvNDN2bZshdGxFHganGZUJdc2mEryvr29ezoN3prvxqyV3ierb6OOcTreNyYAh0YrlRIpNQ2QNR87I4tZIgc04xqCO1eLtQe6cb7sjlxA9TpgG6FEWisfxwb442tqVdjG4d6HYpMAlx8SoaO9lXJQHfU+65RP8GyTwu74zlngYNHQidkmzNGAFqBFJZHuSGsQKDUx0BRdHhThB/hPxHJJGilr9D4EzA5+IrtuLneuGrjqH0+mjVi9BjFYgCVMBTy2HnXcwGZYBEdQ9Z0E0/nf8xzz5Gq58uKVWqCRDYKFO8OyTD81bg5kOInEOxAqbPsHxjR5fhvfrJ7QKlM2/POt5rnN51up6xd1J8iVyqcKUoA3fsKvAC4o99v6ISVQISjeaujuKwGAB4Uy9ILgPRuXgv7CyY9eG5hdUm+MggHd7tDpSJ5+SVqxCDEKyO/QCwD1s0l1GVaAxwiM3pXU3bCp4oWVj7QRM5dFhYxS9jn9FOmBHOiJwzAnvbGRS9Q1Pb8a1l4oJsnZ9IJAcnrlXChlqjUdwSkh1JE3GZJfAPwKJZS7cBo3uaAewNUGSIf+F3oGfa8uqGvDfgfZDppe98Mtf6Wo6Xoyr2rGpw1LONL6DghWqHUSd0PYsah2Mn74Y/fywjbpitacVcvDwaOL5Hn9PnjrA/1D2ra1BmoaM+uf3ilWH2W5wtCLm4dATVJZ1jR8GIWUEs9iS2Fumz3Gy5/pyzI7F2M0l3CaRvCA83p/f3yxH07i047t8/HhKrTpBat6jSdGRSLcquj9xhH+hJVoZZDr8uxEGqEoHyZVxkYJN26n1YU5XsktigYQeQVDkRwZqj12ihsCk4Re6bfiP1rvuXSg+fz8hddEmQg+NPh1Cp3R131M25dTQnu9tFxDCcywmqfGKIfyBNCwFL+0U81Aj27rL+CuIn26bOtXNKKSKys0L/lDV6kKdpOslPASfGOJ+Q0we+cm34jHw2mANZ1o4fTfBTVEu3IThJi1izhV+ox4b+5c8/geoBsM5uxu7pW6icnvlUfRz7Tw9y997ISNozU2X4GLRZGlnb4HHo/enpGEt0D+tG4daPmYk86utZPz/XDc0Y8G8ycwdEzG/GbQ04N3E9Ug91UaAWq5U2Nxyj7YJ5AcZg06Z837Ejg2WWLh5ewEfQP6imq2fQeqHejzsHqUSktBcRa+i8ohMPP1zBBcmD8K5PtyVSnDTAgi7QVaUJOfXcz5G08/hkCqmWllMyeopmLyjOJ/Ul+y/PdWxA0A8Yy0OsZyyQBPUeBSOgsV1bfka9f6tQu+iAtcrz/+rAANkhaFqm2t49Busu3sdnT5vwnH1XcMvFeJR5EXNe+J8aXSBkGOVxbi26Z0RhUKUzygMI2r6CiIS8DwkmV9SE5S4wYJdighhmG/qjpMu5ah+vOAib+J3g+kXJFPYOHjXIBkn0kEjA/NE6yU9GhVpsOheOxILzp2Jb5o/llP2n5W/6bbACk60GXmToiCS5hFvV1xbU7PnXxzsK/KVj4fPHfI5aI2rQPrpPijA/HcsS/nIWu0ps8/8i8wSqO7ZWDOsO6WGCV2LUumxfHknRUKOF3B0GA8Hd97lO4w/dBnwMSbcwos+4bS5FoVrQr/xvPR6+aH2otTH7FBsLhY0hYJd2Yu2etttyu0+BczvcRIiWdq23IwcA5h3EN+NDDtkln43u5CMqPmoL68MjhAWdaUn0es2PBjU4LqM0IQqG7T87h6vUg1zYf6Im9xLhSOVfJmvOlcyn8sr2t65PFoYc7ft7Rbodx5f+Fb+azmDe+UlVc75b3oKuz5LaY5eJYmme/tj6NM5EcPlGQ/d9sTH9f3V0wXIvWjPI9IPmRR6IA1c9PYIFceVQP+cUPy43fl8yK3gzw5vi5KRRJ5SeKUytvqdFfp8vFgDR9nHxK4p2NC7BqY/rr2dDhRR/RyjeTRpdg7+IysVP5l3T4utAPqQxeTOGVbu3z1HeXwGDeCqP764DoRB7vl7tvmRnpxzvgFyQDm6WghaoSuh1JPIlDynAmu7PteuOcYfmWHN7uTPf5UYy4MRCaRiAeVqMc3XsPz4bakRXrO/8Um7kWN57NwsBaesB81WLbGudmSUDOFwyF6FS/ecxKqbPlDV1NtrVST5GvuD0eva7Ub2ogtTD77CDQloLysGTLOYbwdQR6pbsmnVmjVInfbJUBwdL4CbUIJW02Y7gQHp1G0qlUmJY4ZVu0jrfp/Lv3mV07U8UHnqQeLp3U5kRewtO88e4C138jfGN8JYo24yeJnPd03JOn5EyVVa7bj9yf15QNBUFrHl4p2pMgNH/8lryAggNvcWJt5qgWdEf1zQieH0JA4dMGu6AM+0yQOscaL/2p89QBWTdOQWcjqYuy08odqrRHM+NmuVGGbmbFbvPFvmt50mrSLAM3CKd1DHTKnmz2LwJlydjVR7VZRtgzlCW6E3FE9iAM/jwHI4Td36dhmS+GFAC6H2YLcvx6hJd2lgNa7ZxePrV2VRfFho1NBWzO0A0YQXTrLHpGUUxQNtDtQkUgyukmA75nBLAjDbioLlrLsiFE58NK1jauzOup8SQpIeNH5AvsrhgsQwUEySAzhOy119bsLhcNtMDn8VuVHVtUHz/vjc9qtinGmsTOuwxhyBh2ONNBjXTWWCZCt8198kByhNqBEyISMZvFk0k866FH+rB0MUpVK5U6kA1vygsXit9BhR+su7MHE5lzK4sMyKseShkXWQsgVt19NnDx+xnwqfknDRM27Zb8NZgXdWUh8RlribnysCtLkh3ANODA7hZVShPjLtxeHAQgeDOTgI1pKRX7uWjwMiqbw56fXKLjOx4rKgYrbBTOOK2MBc5e5KDpF9wviomTRQR08iX8jEm39UbfTgGwilIiCd9G3rsKXEM8qX83Myt90kyiVG7BSIPptFq27xHZUMXxGX0KY2Eht4pn+aRNTPGhAnyQsE+WrlvJq8zGmhhsQRfvaOEenQGRV1gRUb0rYVX8og0bbvMJy+Dltfq25Au4L7OXEjD0jhl388J97bJ/u7JEJ5a6sKAiEP32mIkXDWOLA93I8OWx97LihLVwcubByTgn6/sCRsgKibPSOKrn1+HovRC2D1eOciNFXjq8+K1g6pdM/tfJmvz3N0ifZz3F6YTmdaIn7iN6x7rD4RhhrvP1ef+q0/vMbpOqLaHnmH3m0eQ8W+NqwtkZNYEczc7AV9SgjTuLhG53yWkiH0Y43U/fUo2TvgOBA4yRkTp2PKH73oXMmdl9jzHQDayTGUUE3iO6HsqjQpQ1Myv2POkQh9S6ooWAz0CqWPsr71iNcPSFIv8TmedylShVUKujeDnKaWVZAbhbZxff22t94ujG8HOkOvEnkUFDKbbD/I5tEVuwBUp7bNRxhMQvNsiQEoFNbxWHfXME4h+Xwhpb7K5OdvvnodBTdurQ7MZq790PwsCn8W1Aqsf9f3afleM80a5njvly+Gb7xp22q1Hwb6uTkNR6wJHfyjkXrKUmViwD3o0K8v8FlSYkmkrxohLfntCurkOYuWMyCdFN821ywPwf8ja2eyoo412wflUFWbD/bwckNN9872zA09mA48ANait1a2CHGRZJjn4MEnmRknNy/FX1iFK9lFowjEf/JmS4FwCEJ97cXUeLB2orwfvn0qDbB622SlgmbebbIM3rRrcd6KlGLt76WtkeEJUxhFf8cUHaPuxwLpU9pcTUTsjqtCyVXrEWjli+nnk9hNz7TKPMdgBl33NUzAu8WYzihQrOdgs/ouzEuwCwvTeMEIdN1sK/U6xbrFlLepqMU2XpzPjdKFBFNfv5EJrQQ5T8ZG1SsvvvLjFwyDwYH5yTRJuoPXo8CMT2LHwfn+9MNXocNzN7N4N1M48BnLtHyNn0P32pg0s9PgZJXwcJEG0EXNef7FZNWveGfMZAZ237/PZmWgWtUeUSNjWkNHZfsqc4/x6oMsj8xj38V/T7nHMyxrYceEja1rj3Ctq2MQaD/QzD6ggKs897RJZ3LDuxoinzppRZDPS7FQWcILophSJS+5tJ1JDpT05cJ3uqbdeX61lIpwTRSTtji1NpAuznOJuUWF7xkc4HtFV66NcmUBcyz/nDz06XBeAyHo9A0Fzjslfz/OSWIkrPjsC5KqBU9iEaIORLnyWknlgmQZ3DV5c/RNmPE1QdMHIH+capEf4VRS0YwFboZc2O4Ovqd/1Ph5/AxNUnFausr4xm4+vJ22ytz7JIpJPASlTKj0E33nP3snT0XYJJxMGuqLqYrK7Lwwo64guHJwYeTDdRweUDsSXY/iF4F5Sq4+y3drv6tDnblCZs8j1vDerJR2zE4/ksltGazzcWQL/tMZcYb5A62x8kWMwXmntxJsT7SZqu497y49rG48+3ELmDfH/3d/+XL87X4cujLTQG+IOwvHwY6t9EMhg7UY8hnjiV3ToR6m17uRe5xiSqTEiE88YegbiXGFhnrh+yfEV4BRUPZ44p91tmVKr2Q+J+Wi5a+o5iy026dhzx6rXJ5E2MLzj90fFEbMzWHoVnxIF+9UQr1oQ5aTHWmBgJc8yU5t2hjZQqMqac+q4Nih8iBcvPo6DZafitlnXe0it4bZRA51evpIQnIlaXMF6lhDkSPovBnOxRGo32duE5tcsBnYQ76Bhn39wCZH0oqUTMj6yf97rOByxlJkIpdnPC6IIeHmj5jM8qgMB26E0k3XL74sOzEsU9L0ianTW5tnu0YsqQzEKvX/PAP5TONGMKY8wuDDDKfL2e+sU0GeKt6O4voD3LliFOW4/2nGo3/N2eqxTFJFseBs0D+NyntrDPVt88OepGOvGeOamPXb0r01dkmu93E7+XLNU+1aCa8xdfTx+YJGosIrPRxePj7tIJZtHlZopEXfLPU3cfhQAdddT2JAbnrduwNjUjFzQE89uV6pR7IC0KRYeASSc+TjnWjCbL2cbE5lanG2ZpyTYTgoaNgw9Coky80todoApSdbLhlDRSIJsplOYLKHSQGlh9bdNN9ATEbhxfk4iJZoxOtLrWnhkHcIDs5akHvBgWhEYIkv9SyqNTGXg0qkIKtj+1h3wdsjCPiubxPPtmoYisCgBuW6S8fLhFlFTxvOJllcbnkAUb0VrNtgK+LQRxv0siXQ5PmdRYyrPobt3pYfxLZ+5av5jwKj+d8F5gufEm6/323B3vBz/pQI82fyDiW+30QqdgeFSdrIHXaSWCGEMBaAdO/p/Izryu2+Z5mjxIlGKeWJYulQpE9/h2yDIApZDto8Jta7X82GjYei4rsXje3b7aAYUG3wNmsAScQrrJWEhkDUY/3TuTSnvvRGY+NCZzp1joQiP5goUwv7mZlykBQUhR44g9hLcnBpRtb2l7GQd4JPOlh6tgRCn4t4ZTOUNvE09AnAMtOhdgJ1d3BvMUfrTxsNVcsbBzkCSRdwlGUkeoJ0dMYLho/8Zb03bTeqQZznUZgBDSBPco1LNoXCG8RKO/HjtGs6hxqojVxTJ6bubnZOqvm3UR5j4NG7yP6833MGib6fUtZhvlSqGx0sGMxjUM12mwJbtYHq6TJVxKpyK+8IMQP5Tcy4o+/z1J5/GiP/ud9ufpWafjTQI81wR0qXcdplvp/1okGEYu3bNUmzCrLHqEtBNn/F8OPotxwuMaCMPo/h8rm1oBS54o14ra4L2f506w/iLZSqqTKrY1nGL0qkWkmknGEiEPmeUhYIRG69uVmh20fbkwL7IijiMaYmU76jk+xRqcVw3NZxEmu6bm31JE+xQO+pZMRJ4PmK23HUDAlwihlL5hI4HRXgyq+0NO17b10QTB6vPRRPWEj627l9JFSUQb7YTTq8eQ3WKChAN2RV8uz5SZbtD/ThepaYy+VbLisOLv8+wGy9m3OlJ1EHERjtuxVPuks7/NnwRY6wLge4ph+KRrtoJth9JYEJbRVADBkQkXLIgXeJ3l3uBzSb4YQY2iHlA+8u/Ja2bk0yUnyXqdhATAVe1N+mU7fI7iZvSCRATgbHQNMN38QrXcsLLag1Le5UJdeqTWGprz+EoeM8u5Rq3pH1HS6Ejx8pcpwCB4sO+HdVoVpCaILvmzYm7Mz61qlmm1FoOFArKZG+kaual/HB4mSjtHqwJ8fovcpSyZyknW/zV+/yJhsuV8w6gBgIf79CIsIKMHY/GbVuAhL01xS9yT85LVRcwaHGY3GkwlIcZtmgZT1PIEA7gWMRBYl/s25vKBAhSdd7pZ6mhZT5gUSZTVz3W3DulY2WuyLOoamUO63o/j2XvZVxJy3eBhYtYjVASrwGomTI83ydJWxjurYePBd8oF6gxOXAI+Y1wOnGxuBPIuJz9XjEsWmIKdNuqpJZ6MIoRYZ7sW66yVzHnl4v3CN7v595ntbkEwOfugPGPex4K0dTQYImp323wH+cljFE7c41H63v7bRiA1OWXbJEDmyQv73HVItzEQ7/THvgdU0bYu4bHBQ4Z1GlCbuVtZah4duqRDzOkHzmZ5RmXmiv77xoYXNpIuzJPLA/pAdVKt/zQijb9HvIpq/0C7xlBe3+HuA4Jb26Gbi2qRjv2sjshSdo9TbgL1xEDuWjxaNb6NzcgwcT68AAyegBMDmzrEmKQn9Q4kYcyaVX/J9nWTZrz6ra5bmjRtCIDlVv+KzHUaHPJvM8s4QX5NyOv/qNR7yPZvQMRSzDWuRv5zWwhIdWFX6coqLQbdasoxrwkafjTu9S9oQMwxS7Liw9LRx0p2o+LXnbSDhgNwLO2/5WNjJ/HNW0N3XbPTl3bgNzX6OZBQm/R7Kf1obzIOD7FI0Wxtan/REBScMKIE+ciklhT7QtEla+y00RakXpuRa8lLfBH77CR+O888ZmDglvM+skZeGzqNplh55mbbSijSH7C8hxftUhniJb1wsCt2qFYlXyUzZAM1xN6e2Bv0EaZikJlBjF7DZ1jqUehEehEgdeUkKrJSPB6a2tdaCWK9N0Oy2Zphkl9ymnkpu6/24KPMpCi665gs/BIHLXPxBZXo1iK6qlUYFcAAe2S0qSSy3gsM1lR96ImxPWaeFBFkXCFvFokI1bKCZjg20+BPs30Rcw/hpP835sn4m0XDSuV6/ZUppSGspKPJ79M6swgJvZKgvm28HySk/9FiLQJqUMZCUfSDM9xtEJZaNJt7MPEpdIxLI07mvOHgJVvy4nzHOLD/tptuHc4jW0Bx+21NN2+7ICyCrp6U/0jE/6AVAK+EJSwL+8tYuY2SkYDTkleW+ChqCB8MrOvj2GDGjU+daaCxv4xG34aTV5kcBoeHtVqOGPEBi51xrH7ByrX10AqrNeie5J47gqIw3h1WUp4u5Pg0FbGINNs/zomK3hqqWlnCsiBXsWaQ9UjbB4yvb5JGh+mq366BwgawqyvmfNeFi2+/jRGfOLlBpjDkEX6RSLps3RjEMe8O8cLJGW7GzQxe/fSoaS2B1QCVUzkTVcbr1524JGOSMFfyb+YZwoNomVBvcC0R0rWhFgA1UjYQhkD7ttKQf8zPUB1MMVcZpcEv4H5koyhhLptOe8L7PV286C9/QnkTbgWtvnkjATi2OSg/LvHxf8dSg55iSoKYOz/kT3Sl06bPce1N710Yt7jK5qQamKV9G0r7KKrWRloU/El8c2GJC4epr2gxVC9WsczcOGx90MvB24BZrupmS89I3LzWlKIqZUtz96tu4bsIc/7GQ23uM39TsVnTgJTaA3/3C4eBnja5ZV6BGDzkTXyKjaj1QkReq1c4ZqypBaH5+zHtKABs1AAuMikFMQAf2wveDBbTaBd5HfH1dtB83lbzWbHZcwMNV2H4ZToxp4eoS0KPPW3E3mgndIe5LzxVdiQcWPSDLUstb39iI7ogwZvlCrWn+KIYM5FNU1XxCmEHldvdFIEp849OASeXg2zKMF6KtuWnjP+0jFMHD1DpawQOtqr6nnaEyCJz5/zQlKcolzkgAJnn8kqKVdSVncrVUNyHGOwgHBIA3HYai0DrFU1BxSpTEvqBL+GHtjrCJHVbpt0CD1tGS8SnPCJ3lFFrINyOLW5jOfYD2gPr/N+w9AuDpHLfsspbenefvT58rGuWvMITWw0WE0tQ9C7v9E3hxxwQr/GSX6HZaaRDJaJucCzH3AO8+DeI+LrH4KOGaiGt7c8U0Z5nqvnsRAGSkneL14rZBmRcxo6ZQC/OYfB6bkABTq3sW1N5znZd34B1ENVMlKjLVKsXOTPXml4B7xMH3VE48kBZ5yvs+t9l6sSooGLXZdPgq7Z3qYNVbbV90A9m0GElr589i5IU7BUkZbVa+K2Q/wg960Y3Vg75U1q3VbiBRGnqYUT2N6FKj2wUJBYhxnO0z5Wy/Cy4/8D/IAB9wpEF8ak3xVeWE9IZSlGl3HcP3tBF3eJqhi/gudkYxbJI4036SoBFXNwgysn1w7NALLOI5BroT9aB6QYknVx4Fg7YBOyEHGHMrvmOz+V77DiP7SbT2jilPAQHfVH2Y5hEFmAHp2W5aMa3r7veICoHt5jUy7nRUGor/+OJ9m8Hwbp49XEZtxorUdDd3wqUV/JWkV9a6Jw+D8vtPeMHaoaoU/oJ49HyOrgUwOr7Onn/D4sb4Pn6tIZc6rViID8uI+3cplRozHD9zxHUe91IF6zpd/P/tFBnQkCvOEZOcQpmOVDcjRZ/55ZRp+8ex3V4Y/mabUut7DGTfJBAI3v4SxO+bBt0KRNgZ9+BlEvbWFPMwVmIgEZfWgaWer1kKrD/WnTtV6xj7wY1ChWXIt6iHk3IGP2FXADvnwsERvB1r4gyVX+6di968216JJtV99Z5zzKwn1KonPYKSBbHvN5GPQcD3oVB0kyYMBruTYVMFKe/jPT75natEgomTI67QkXwypi9m03hsPy8vNxCcXsO1pzX7RdmKBMrJNKRjCwa6XHrIjH9rg+c+4xADjVpKICi1ABzu152pdqYh+7VWL6nHqrAYRlQM42JWMO9O2setHWXmVe5As4oqGZ7kgtoMC+VuoT9PQKVPn1FvKmCr8FWB9djxzSbBZVb6G7W2bij47LeCWysPzYisdNzL0VhFWHTjK1YTcGwyIxoSveFos+rrH9DeW929kbOtlMw9xOpWw3ngs2sUcK31E/X9YXOhHD2og3YqcjSsMe9RvSdgXt1trtvcdm/CuzMDA/3wSlk2EKGoCR1clN+qTI4oon3nSipxZ76HK/Mo9MJPl5O6fDIsDebfqAvIXrBBNiTfB7iM2GzRdwLWU1vwkHNkPmisElDLo9K00y2suDaGaKKUMRiFx6ZDELo2RsU+KYT9O/MD+JVKlfX5Rqel1hG0PFS/I/xq34JRoFekaPr0PsxvoJzIv1mrpWcAUzOKxvLK7DV0fdNc3NX/SjkzXuY42XzZmdxfJg+FesFkBD3dzPVD9l7r8uboI5D1wbbnD/eVeKRf5lEGtpBX0P9pSvRLWczPZcfzbGvzJ008TaKJ/I1A03W2IL0TBPCPI1KWFtWf8PSOH8T9m0J7Jav2/8e4O+JUdr01bT/0PuLeKPPMi7GxeqCQZorD3xzRfrhkaj1C2lwEdym6WECNqaJM3E0H4GEMlrr5AXs1n2HnPGL3oUJ9jUEWKEvxgQmtRjW2fX3BP0R+DsxgTqdV7mdxLC5uEk1dnV3An4zV7Islt9SUpniN3PP5/qQK1jElWuj4mUJ8/LpYi46ZcU7YcUeQVglCD59m9dI2xvZKKhtYbcdnX+OGTWOEtSYArdl2X+qXpaAGPxX0P1C+JnapVTLYK3eeM8g66qGCPgljETKzybdChCj+moJxYtnn+rew9XFowIeZrWMyJ5ksqZr5d/7DDlAykfhJhkdUylI8xwe0vY3XwRleAEIIFAhU6ze3ujaZqXlwItZKQVzVdXZmGTAKskoADZXIkJqDHUOh8kI9+Z3hWghWVCMvC7ljJyZrN7LfUyqXMlafELhWi9LdJqI/4yLZTdxYRz8ffMn3qZH49spys9+bclmy5G+XKXguMIFcjheEvhf47SOZAq+GREPtJrCO+Ni7PWDgLaWiuIWWdiob9Sf/df9zuhwvNaznpG09RWm0unCtFCP89kR4s/ZiN1biQjJPowf8bhO8/QgjbaWTTd3D6unBxl0nt23ryaQwg3utLBzhnwkQR8IjX0IIVjj0GHLxEwof2D/hhOK1csWbkzRrJALe3BATrlO4YvCTNUNssjnG/Rn+CEOFtUwMCiGOiLtUXrXmnir0/AF0EHS0nWoBVd+hC8DHT82YCdBQLdG4RVtv93hHcLxSuMyx141hlZoA9M3DrzZsn20nNaiyg0p5uVC/jLr9gOBb0qkL+lcyYwXhASHFWkl+GUxEctm3iVBZsEwPs5DdnmbI3oiAuBCujtnKi3qmVMfmiy0dXtmMpwjI14AfgCofhXCxesexjwz8M8xsm+S1AK2B16ewg7CoYryn2WSKToA/dZUQROE02F11LzpIqeYYqSmewJ145G6xCBPnW2JXwSc9JHfD5LPnTLuBPZZqkKCIZmxk8ldn6MViCpd0eQwmhypDHf/W8hgidamHVCX4ahAa/5piPxmlYO8fHHIK6XCn3sG03U6soUkOMDyqomXV1q2Gf+90XwNvD1g+z+3chnicxfW1Urp3Wwhd2CCUq0jj2gvtERXBr7Byls+Jk9avAZXicaok1vf7ZIwsL9NeN2vpck8jk6UGrKwzhrnqj+TEM1uNQPUDGy54hyvLGZOyOBzqGi9a3uTjJKVjVlmlvJ4Wkza40AFoTvsFEfotlOXnttOziqNlVwuGtWBGcAHXft3VP2CEwv6zsYI4mbbZ4DapcMlU58t37uyfXpVUD2sOFFFOedizZVR0pzqClDO/eGN9gfMef3tGrCHas6WMenWpZOhayXeiBwbzQIWQQUo3f0maO7Uzx37XIsT50+IfOiq+xh3NVVxElPnIM587JyPWxtdwuTQRtiq/cHjuMsyDxyQFKalukKBd/atD9oOu6gMqLJr875s9mq7QLJdF0I28ulayYwNvjWePrFLAry/FwTQfCIpusAryVECUSCkawu3eJMZWtX/DQiUGb3nOdgoCqe5WP18OCVVZg/nqSnrm8vgMgq8EC9VcgZlY26ylc69UVxcImtZ90J5QMGX6dcbqG0dMv60Kf6omfm7iINwV5BhWZDfH95zKPbo7kypvsssUFpXIzlTaVH5xMTLY4XGaEEin7dq0EHChXtzBlv1WprY7FDIEFASUdVuv2n089cgwhbuFNJlFXFZRxhBtF3urxhhScIRA0c4VCiQdRJpOl4aU/LrtLsM/swUdSptjX6Lr+m+vclEEtDGdhR8d7R7O3+lqa4D/E29mZWYHrYpYA5jkS7/EzgoxOJ9h6orIHDj5CH1RYfUs7uWnRWC7JOt/6YjUeVhRWGllh6uoC9LKw53/bU048UW/EFimProcmynAtnPqgUGjptkSWAbleH3Idv+92qy/XJrRdxXtqDToVGG888/GzNBEsW0Qo7eWPTy0brRiUygPkxYWERi/yKLwgnJE0Jt6j7KSfH6sqpdH18YclzIBaRGqaCMxrVugJStpg+42IbT8yGl0ipAT6kyys5pkdO4XLOS5Zki/Dodnrf96XuP+sM7imI8/4guKSmKZqlv+OIi+tIO1KC5Ny6JnmP1ICO7YPvYv7N2shZk0+8abZfi3WGj8zQ6zoxhgo8WIrfL7B1SPUH5w0v6zrZ3uLHg9CJNLSAY30MYidiz48DUkfqp1x+pVzj4KwY/ykenSRioSGm89MypfGffnOSMfPsINg2bhm1DqStZkJMUFbw73wq6Lh97Z3e4lVoPFKKE6oCwcF/2QElm8ZkvFjGLoY7oM0avJwrJtcjdNBRfo3kae8nBH6GDP+JSA/+uhdm+AzRMe+gB5PzUxlJdJIHdMv6UEKuTCzP85tcl5ejSWQkNSmDWibY+xVhZmotN5RSNZP4cxn78suydsLafLZO/OqY3RTa5yn5uGnFj0Z+IxpyOsN8yv3bd8kL/Pi6p73rOkDCSVeA+LXUj7ufzokEsazkSnhxbsjb7RajegVDnWT4Xk5p952vGezOWPBVjsA3/5jOOspQCOGrYMwOPtsw9/rLvHgy7oF9BgS2G0cXRcByhb0w+Nst+/pBspb4eFPN78qYrnc4r5ONwlrvHtyrva7UfboWZO2HO/bsB7jWM2XkYFvvkMjgHyv/z7MmvrdFz0hwavN686xCxvu/wmhQoCcD9R75GOrwZDSvx7EFDXiQJdV3292gJNN5gl1imkrkgZ7WOGUeKt7m03Z6DOvyhzV5Fur+44CCTGIU5hctdIewBEcv+AtdgHcasGzASEODkJ6TNIGk6YYVuu+MelvrSrB8/2PD7OplJIXb+7EFfp3tsDb1xijGsazRabcHfDcnATeUlgYlljmt3DSqkbPi/1eGxCyrjVQA+31T95Ns4BqtD/+TjF7cfQBaDhS0m7TZOQwLFFrTWDKDylMt9AUHO6TAKK3aloG3OPhkt/9/CfFzf3S3kNHH67kF+OpxX2t04atjLsjy8ya3hMAAhpmHjBA34l5NLTkVOhTMzdikUcw+wGSfqWDuBH62c9mYWpbZirNIa4tZfZOk/AQhHN/hSj2p0u22efR6CaV5BxBKoujPYcBsfma81k2W3dblpeQjOYkZDOpSvBbmS2MR/yPVNnSXhFstffGYSCc2nCg8QrLL+ATqnQMi137Te9c1uypZwGZoMU/8JLtrk24MKcmV5e2U8KkymnNGikS8i/DeTuPMtjlhIx09vPt2btKf8qGbKCx3KIHIvzI1S28yMG8aeOvNLH2jkChcH84pxEKq44Rb1udW8B7x/QOIRoIzER0Vut7Qykuf2fKf2ge14WkH8LnYxlw4B7tXCK++uUyu9SieoioqS4ZBXkd0WW9FBNNnFhXZ6II2B+9phX8jf6LjGhQPIKLSRCJIDWblxP3b2yGAnNzdB0fXYnjUqoXs9rbeLHWHNPZ93JVAtdBVEgqujz58JdXnx7jhEbjsSMwPQrXC6HcGBo5vGgtsFDIGT1jP/Iae9zHXDaptyoxIPlJkPkUT5hqVU4w/J+jJKCin/DXD3yjn5N4tcEsD+AtAyf5f0g4Z10lw+hmJuslnGEzyMzFfT36VvVYFM6xchD3v/D80bM7kdgkM3IWhwla35v5hEBEeC+UzQHEk5JcZ1CCofXZrVQQqFt4lnIYEqqBJU25X1P0Dw9W6q4QJAI0KlOEtU/C28FfQirIVdDYoYbfKhnrBwlE5w1dAAPRv8nZo07RfIIcjd9H96QcazfypdaoY7XFlL1Gfs65mwqJxpOWjvhIaqQparUvsseooM37LSTU+ERBvxkvOQUgTfCDOmdNB5KZLDTga0Ed5Hs5o3u/2XWzqLhbScm4aBIH6RiV08dnRexQR3YZa2ZtHLVD25DkmbsgegLSCcM1M1lp7XkpLMCSF4urHfAAPqtHlDe2/vnTkO24piejOYtQOCAjejM1Uv9csdcXdjuwX+TwtTksVsR7FQmNbE6GBgnXA+wBP+Pg/pVdhGYGn8RhtaHAqDnxQvDduXJXPU1enBCsk+9lwbnwpBheC/V1naQnI142UfPd8G7u23NBTR2lg73ZoEo3BMNFQfPdqM0y1TpTzJmIfsQSnT4vVQLvCn3+VKJkodjy7LLSx81IP7k7K6K10N7/uE96gFAbQ6nBpAEOMME+kMNJjdAzLfKXELzub40PYAgJosEx+5LgUhP7Zg1/UPXM5lpuLj9RVeK/cKlbERqRQSUdXse8pGrnyaCIMDbHX418rWmCa/EOU4575o44EmIxnVymIANli9QN2TmMWUQbkOkX/GGJEHvTDN2+15jUypMKSSp39R7WdvSvgHd++m5tR/YUCyHZFuwxdj72C/ph64fjDu/asZg0ZLYthpHCuu1n4dzHiq+i12bup8hTHlMjcLp+KjBB1JIeIOVJlrjGy3aKRqn0FCfPuTucd2+sg25xYFrBF/F+eUlUwfQkNwHj5NWc2BjuvwqMfcH++5oklLjYIkW5BgDVoclkKv+QqHTfDi5wV4lPmo2wOAvOn8BhfyA24g2DIrbBt+asvKdnC6nHGGQ6QBXtbc9CbbLQKYXdHFwuBx2yvWh9xBg++dBhXseinl9Y9BS69LlDleqyz6NG76Scb2T2Bg7cdC88ojeAxISi9QJYm8k0/VcWyK9e0GYYXQUISACjyKiGu4k2Al2faLEuArbOzjnRLtMYl24zth+R+SLbmgqusA8wqRIPx2USVbt7xGTQUSRg6xwK3Aun/a7KEYLScCEB4W+PyCe5vRjsC162pWJHiVWDZa7Tg9XhABYFBopuENBiUsmyoORrIFNp/PZYfLeUnMUKIfJBkDANEDpHwx04ZcC2/Lu3qyzOhMjYFZQGxjyxl4u2Ww+4bAraDZK1ybHrWLAdfRcjMFSJTkMqywmjlnl/pjLvvb+93P54LbzW4QdNshu9np7zS2KlEI+WTTcawr3FRUXqPHljAy5rqvBJOmV1QgSYwoY4ja7V5MOGgpUNgKfYV5R9BcfP38m+yyXc4ztRT1adZsJEEgKxQPWODj24sjHYRDkEDlUWrmhxBm6+kFTqr2CC+iwkX3caGwB+JzHZcNCO86QpImvHpZZFmpag3zxNCD0Ej20QKaIPrgt5/9CZYJ35r4Qbo6xMjz5UZPibtb+qAyHNm/dqULIcZGECm7W7ZAW1/4/BLa3T4s/gVXZ+Ajp4G8G658KtOd/16d09F514jE/qNif5bQINRJkoqfhg6gIyRA9DGmDWV9TNifLm9LZjCu6HhwnLhG0Nr/VruQSStcl2c6dvwUhW/bnPJcTuL/EQP9ct7F+abmOLyGAfgn7rz2Yy055BmWnJxKdMObWa4VNrbS931vOLN7gqXKq7tN+n8s+Uwi3+3sFAZFZLBUqHKDXSIOMVw7bfCV6V/qOg70XGsXdrI3zuxH3FtACHpfgB96hsngwX83DnJV/HsBG0gds7ZRv/ZDIBAXPhSyZhOBETUn7I2/tWsWYIKDLPAZNMVApkIGf8WOyFHITwHkKnHtVq/b92zRi3yVDEIQuwtgkflpuFJwMAi9F40bsNiYVMiffb+Ny6AuVMmYpm6YJDUbPHZ+zYz6CcONevJy7CuzH80AQ5En8RsI278cOMhzwose4P/MZSforUTfwoIANbRMMWmWo1xV80jNTYU1ER62I/2cDscxFppHW6GL+kgQqsJI9Jkwdj6xcK3Z3+QQ6XFdiDR5IDfuLUpD8rosNGTxZta9tb4HtnwV9MEzoJ2H8H64fUJUQdmRPwfwgzr/ImNN/jVJKoGMNbPTFrdCYKDiZ+0vCiFK1zhqgX8fiB4sdXgdFLYbXJyamoIYxUipCvZ5IcjrHFHU4Jl7eIeg/8HMURzgDvnE6u5f7rRAmarERJZHPykFdMERXU+fW7hoc1wQidr/dF9DU09KOS8qj6aoQ98Qnjhhos2QosgRb4A4KNyZPInH9sxsM13GQJ9YROL+MIoHTPj86BOSWn1WU1qOII/nYJXNR+FEz+yqTqmd7dUWVDRPoxQO+nLkJ/I8jnNKFE22w9r6qd18AL0G6lPRKV1sUQZNpjjnGavuPRJAxCUMkifus1aqMKy5MDkZNPsnWWGJboEI0BUTf6DwqGP36wxcxn/1/0yNqJbNEd82xVTlQt0Y5n7E0/o/8gXLYGaukqvHLmzfS453KL3CTSwlZxR0aiKYbhMgjL6YmUI8Ku59c1t8Ftg3BHlfhYb8vwEY9hAqzDALGHDDUCne7fQAjWOhGymzV/1xcOkkGx0qKbQftPh/F+WZPgkOPLPKoaIDmKjiC168kwxnpb4VtOYuCNshpEqXQoUdXdifIpmsy4XPpsGhL9LyIjMLx8tVmpmJ2ODW1TJOFemVqdSAjbIt/bnPjouWXbvGshlCFXi20SkGvQv0/pQLwvDxivf1jxkkyGWK8xCcWQAc2tUvMkLfpSCpj8CUxO0cMU2OxHS0McgyRuMAz+NSLBO8AE+fDm8Nnu39huN93UPzW5PBPX/GpddusdwrbfJBGEjoOnArUM+yCK6iefcC8wtakEwWZBgLNTQ9e7pRkdzTf78XzxZulwvqJ/dIMo+XFGh7R2GPOvhTu502AdOVIHm3ajcq0qEhagB7FC7knZOFsbTfdpIqYElyFS7HrDBhrCZuik4fZK76aMR+mKZCVQj/OdRrQxs+ucIAX/g1RTcDWuEq5tH9IcoQUaBwRhsnMHvut20awOvd0tKL/4/rAIgPgWDvSI88QxFV32gKMk2Ycm+egAWzlGt6EOB1w9hZeNCG1KHVlnogHCle/8u+l4KMCD/gkHU2NZKlyATqYoIohTgDMRdeRR+7MKs8lh0ddIakdUblpBIEUUNBLQDczGhLmCQ4L/DOokktMy1UzvLtZQ82ejJFwZ6K9z+sgf80tHDtP9K8Dc+PJGHPfkMe/fxW4JWKc81rLpmgVhiNmUsrC5+KW9m5q57YqHI6u8QO7WklqwTAk0stXDNtrWhFE7KKxuUhtc5aYQXPyE/9cybmHPY+PZvbmaFMYWMOeBB5JurXhRIIkrd8IHp8H2ydfLckHZWyknZu8aTHmoKlbqrGxvAI37Pa7AAG7Djnxj3nZFDe5n/j5AJtP+SVEa2bTZSizPRWWGfrJzadkzOj/YdMFlshB7lsVucSXRWUBzhUu+Xm9NOAcAweWtyHxc5UHf+RLNpkUDCs/ZlEPNBETrJEfHMQNYVHGvUgTjda7KFfRDxe7hM/GfjBr7o4OD5RrpcosN66Y7RTCbysD+yj0H33NUMjaIOK8WlIKOtkoW/gfZsNJA2NHM1L3oKjslmmq50Pf6UAxB90VDMJvdfeo38+fj/2w+pJB57XHYMbb9Yesq12GHMbZI7mtnuMOqDago+OZH2GB8aKxW9jSoGi/QQLm9/6vx2jjrqtusCxQyMQjY8zPtLHeSF+wxqhde8PEsGreFCDv9JS/rRwICm0pGDNd9MrFmrfn5uhQsGlZBjfnLkWlbjyc8IMmWZh1HmZj3ClrW+W/4rMGHFnvQ2xffGrJqtGBii3fYYZRHqtf5xCrWElkFhCYvUysOh9YRP+c3Yf9zLF4xFBgiN/ndqTaN5hUT6j/BqkiUuhF5ZPVXxWbpEz2AZQrhk8scetVT1MWqNI+pzHypa+dKqvovkHefEwDTfa0UERS3mWEvEp1LhRzxAM21yVyp2zf92P72bceab8vgrtvwXdt6xCCSJCbbLgTntDBrpxyWcJRur3R65iHjwdcSGNDRYV060g+Wv5wwLAvq+rLdTRX//tvCrJfs5rpkIc0AzTrX6GjhhefG4tcfaz+YF4q5X0i3JeiYbe4u+5Kngl2pxil4cRF/bBKDkZwlG+I1h1XSxF5EYW5PW0FDkQOhkSvUmMYyXTjrK6t3pZy3VXbzAdvxmpFDCFmsJMB5ppguFWNs/JZaz7oOqVC/OpBHwvHUecfq8aWB7Joi/7CzzSAYTPQyMwNUMdhOzbShSPnYThCGtUAA4CrqLjQZobSHRqUGey2jL2aFwEZp9I+/bmKU4zT155OcRjG82WRDJEZ3ZiFXti2K12UvAKqNPFAbMHc+ckTKJlE8fWlvd6nF5SyVgUVGD7ILS2RzIj0XMzHM2FXvdr0JJ74/n1A3w+6gUZMNFnWiMaDOyqCik4h153BNRFNDAdA1wAZ4Y36M+uc99fb8Q2f0DqRoL6qq9MrgXsvSKX2niTDSQ9uXN4EcjfB8qF8DLlipogiD80zhpdcyGxhdSRbMVjmOZTBm3tiPK8vXOXjUr34tEkuMeYKTtx4m5ClZelSIiASas06xUPVNbb1TxgICKk9NS6otcss2nbqGu/4Rj1OvzeEMOJe0BOBYQ9arvwmX5MaqrnXacPGm3AtHd1aXuZE1w7kYFPFHRNDKUByIChW5VRHnkZg8PYFeWlQKkszqKbBz1ZXVU9I30X85Hl1j5rR0F3saCatrS1XqQne9NLwHlZn6YnjaMwe+So9RgDMAXM96pEExC+rJVT/Cm235B6Qq7ZQbi7gXh86lT9gjXVWRmCLEd3MRKZL1afCNGqCtfJU/fWnrERO6CZJxqESmgQ/yPeTsXwZtJvk0eUS46pxH/pRGhGChIo7eEU3ASHze72nof3N0bx8a3EVUWbYD33j9dSSZmkgiuV8Jeh91rfDtxGdFhPuvK9j2BQq3NzwzLTsA9+I6tFB2kQF5+sc2mvVAdBaXNyXJlFMzpMpBo8NnTxTShWdPyraSjc7tTq+AZdbLWc8L45aUY5S2iSeNxbfVVJ+68ZTKZeg0ubQ0oC3CPO6NhHxiFT0l1T1uM6wJJDiq2RbXviLtzy46Y71FvbA9RfLf9hByjwu2vmcTBEvorxsRY3McFVpEUcBXJ5Sih42hwdr9NucU5fnokPjvd0LMd3uaJZrX1pY4WErHDsOwuMSYuXXhJ686kCuX2xBvLfYnTJurU3H4ohQQDwJrbcSBk24Amo0w844SzDYFZGD9qcHlwZ6dzBoObfiks0KkWlRcskS69BMNgSz6yzX9XP6mB93esRPUHrZcY36805LLkQK0CVwv0J2sS4kFddr+4vZXhrgHtwfl4FqKyH05LZrSoOPhTKGAONibaSTILd2UQrWtr9rTf6Hf5oZ40aCJcr3vso4T20msvG6WX7NweAHkA5Wi5bzFZrGPS0ZAn9h7RwVitCEwEQuZB6puCvYRGEjy/PYxG4ZtHOI7YBVxfLf1aJiZLYR7JyMokd7OV+xKO7ZksB+1bOi7ylFdJMGV7XciK/tlCDPCsdrmxmAQvLgP+J3yc6R6rMRkyR1zquPH5yj9l60njM7tNeumrELSpb9osG0zjq8QZHfKbMrTL1XJvH5MvZ5fWzh0OfqRNdJqAYlSBVhTcYs5Q2xEsjRsUSyA93FbooUdO+3t7yeAZ5f1P+Yro9i1Knrm7Xk1+NedlY4iGe3oQqA/QLqzqXQES3VxAo57Oe+9nWS5gK5EkAdEQ/DNEtUyZ+Qwp/Od3NoGOfX+hKNGA630I2Pd1ld3O4dvq3Aelb45s+ZA/TrQWyl6jw1eJtKzQseiWGXG1k9qr5cmTjBtjQwTbCgyKZTgvnytr3">
            <a:extLst>
              <a:ext uri="{FF2B5EF4-FFF2-40B4-BE49-F238E27FC236}">
                <a16:creationId xmlns:a16="http://schemas.microsoft.com/office/drawing/2014/main" id="{F2EDC518-6FCC-4BCC-B4FB-C85439B435CD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3163824" y="1610507"/>
            <a:ext cx="2743200" cy="4878716"/>
          </a:xfrm>
          <a:prstGeom prst="rect">
            <a:avLst/>
          </a:prstGeom>
          <a:blipFill>
            <a:blip r:embed="rId12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Q30RXwdXtvkH0USJ3+j21vfjSjPiWLb10+vV+UlSM2rfV8+oXcmGu1Ko0hRXYA56GIM7tfukAZcnpn0TgIvb6hOMWgNgYzLSbE9D3ggm2qk0seidyjUYNZHD+l3kOEG/hEnCqgxT1SMByDo3uk1nWZyDGv4yqVWkd3dHERonKyPLJdKql8W80Dh5qrBoP0hOIz4LzVrDZ0XP9r5KnLIWsx/zCuCnZM2iSVRkrh2FEHN7WjQ25PsvtJbYdzYLH4hvIHeuoWgW4gfbZCkOTPq9jQtCa3fxl1jY8KQxyvlJ/ldcPWd2ZtYWzMlmfWdgDIYWBcJmJNfXjERQjZQJptgkilzimygIWghVbAyILqWL0q3fv5f7Bb7qX3ZJoLsSMICyPOtCHx/tbET01EbQjbLL6sw+QmTs1l6sr/wpMfANwcQRjgUSpHSnuBP+vDaKO7DNpWhiB4cVTVxuG2TbeSh8v9gTdGv7eOVg/am/ywLwBaKvN7fn5mUrQEoKkgFNE68ehUktIPyz93l2I26vijrFACHu/Axezk1dqpu+AA7yQUC1gYxXYPlnp4sPqFod/ocbdK4K9O+/Qu3kQXpAnn5RDXixwRdOFifwnRkMsdGGkbz2sKBF/o5lIOOxXDiRX0BfRAqtaSow0VtSWHyqdRaJ5l9IazrZFMQM07ZSL9xCBEkpr2WdzXv0prQBnb4/FF9EuJnhcjha5EP8V8L7/mgOyvSn4UMEyyl+BY4LZFhfisIrePLG02aCdzOLqwBaWs5DCStz8AqmxW6c+7A5x9rJ6HvA3kOXJ51Hw9KZH1LN30NCb7890CKktNHannyjfJom2m0SW6L+RuWDPiVJMCkKn9sYZmbN4GIlBzxdx3hFqqg1enif+1jEzuDIqc9tZxkG4WynZ4YwW9UiXq2B6bZp47nZfHL6zqdE71MaGTUsYwPYr8F1M0BnyNDv/vcJwXnHuZeG0/73xo5qHE0PJk/SW7DkZQ1SglXbMbRnsz5GSGomUXEy7xL898xvcBlVqL2UQ04ElOurqM74WLBjbFCYNl5ILJyncoA8QbkZBU0AwNdSyQJ8AbrCBJzLU72dsG35snBuo9ZhxI2UNRU8EhfuWtLMQLym14l8mdV3n3i1FqJFtP3j2Qcbu43eZdnddIKXXrO+13yCiv7zDSmcSUIywNSvWlTHunrkiBFRJRFvBBViEOK10Vwag9bv8dAziG4RhjlebHTLwWeINEvkJc8KCQDxDVE++fSsqgkrKcZfsqlV9MuAo4AfPB5r0hYun17TZzP7CVXXOPkzr6zOt1Ao+CHnZ/on0SkUvd93wLviOXZjiNQYLNM+6ANyNZOo1TEIZ2ny0iWqdbBABxrM+XDPinVux9c6BUegbFVzRdwmUHM0/XqYi5Agzgunq2xVF0Ch7J8UA7kAzuaIQzUezjFfMCDqD/ZatIx+XoshPY1RQjk7Oe+AJFHw8zbUPAFbnH+B1lN7N9nlILqh7XJSa2H7FWAPPVs49SeI2IgqwFtG3q2dP4vZOLbnzXv0+HofxmYVz5lvlZUHdIFkQ7aa73/GJF9DyxB3EGPzXUmQBSnT7CMo/nBZ8kzu9aCR6VbGgNJB8UR0LgcDlIuymouqUtgEbrW6xoRY+qCTKn7xP/5ZV/wsx+JQiS435ykqSYmL9Qd3diMR3DUiKrSYUlNnZBEEZx1TmxBwQieoiXXXbCI0DuC+TvK/AHzgNVftuXT12T2nUb+7I6FkxX6pDMv0yEBAm01k6zNoH4IWOlhaAncPgjYXtAQCvxUx4XHVvB/2mfy5axTTa2VC7s2ObEl+sJyrWIqeUDVkhfkbhqP4ylIyV7gS0OSTJWBMDl0o/p8wpIT04Y/7+QuLmabd/lSPaywSkTO3a5d48DQhOdn/2NthcWmKNqza93tXxFyndHtO1Hah1m+hHiv+RX/hchtVKapa7Nm6J15yKS44q7R4+sSvj+jUgM34i4nW85pvdghmIOpSJNv5rNiT7MGCpM4HN8V3WPokq/is2q31dfri1b6+BieU1gdCq/0FIWHBXwJooNKPCYMLyu9U+4N/JndwyKUirlycpwcvHnwycJfnwgQ/sv8CXIhwZJGzyjWuqto0rgPBuBzctx/G+MR7rqpPB2p6iqANLcUEDs5SDdEMtIg0lEAtuJ7T+MOZiUxKLIGVFfMYlJuWZTy9kTaSFMlNa+OSdOhoghmjrePO+LN9yilkMeXlU/ElB+FPXcrlXbuyOgqphyayG70r5Er2a6KQQMW6TJvkq877YmCOaDIuKRRCJGTyRw5sGvtWQM6EZUOjI0/FN4/J+UkrVbJiOVaXULbS+gCSfjR42M5fXhlXOc5dKBxWuO7b3ZCYKTytVb6veVKqerRGjjIJBq0jzICr0Sbt2UHwgnY5zHS08oNxfxbX7123c+6ybvvghw8cikrkdSE2iYhKCSvJOkNeXkHdHDoSp2157MV3zkbSKU0Gytl6KvZaiBL1ZmkuBIr6852JLnurHa4N/tt1uzP5mwRpghkoDuS4wiI7ZuYrl8lNnRi4i1CJNIlJTQ1k9KYgmxbQYTfUvRovy8V6FmYEYQ8TFfsaNjZ+Ne7K5vZcJSbEZvP7VI0hV9b5IwccsniJadM0ZgbjmmayyEvrUr+AruTTGGkZRRmeiGKPHvAFmUjcM+898oAYYGVIMGEapu1ofb8dNLCPZrUSorqZIr3gliZDwYmRolxSW0CQkxbp6YbcWBC2ZPQL7en5/6UCOw99z82/Y5q8wYERJ4QytNi1wTuv35XLm+GaFtPv4p3Mis+6ny4mvf8mN7oaLLulmPGnKxCDzZP11IFUr958EsRKEAxDa4s2Uu7TeXnOZjXS5Qe3yuduXbso93qpXwsoPAAZuOWnw8ILI900gS62ll44b0YQCRxlqDGwM2L+6bIuGUicCvYNEmA3RtrXN1dQdPESBNJyCUJ1lsykowQbMv018jjM3ENmdPEqOroa/MjBBTaXMOBwkY9Twe/uTQO+ZU+N51NMOSrk03D6GXSkazckj6ll3lPF3DUcCzoRuTqOb/6hhwCJrcVG+KYj/ZRYujo7IqGE9gGLAcHxBT7mLfo/4GcztJotr3+fCqddq6nKDKaL6+tmBBjcIJIyXwn+VdZbOfw/nNKSd9twgki/PMs2psmtGF+1j22tGWIpgCB2yPNbyFeinY3mJutKU/v8fo57Q89w7xsPCPFRgLKyE6MwkwUxox0tZdFLE4Lkx/CJg645YlI2cl4YDqFo/l/slPpZj5DW7JjeJZpJsXG/3gKAj3Lr3OOdhe49BJCA5wKf+t/LlD6ApxOZOsv9q2CQDPTNbO2sV/o3znoGYeXDDR50lT4zfRa7TfvJca5guUX6J6FPnWhmQJBQewM7Zi5nh9C0uVKm+eZjetgINcF0xHHZp5tbYZ3+Waha8xQf2z2L7onW+nbTXuQjG8XcVensgqpHKqm+PQDYIkMpLHS3C08My+xTTS6ivq9uOGXNkW9Dpp3ImD4v2TgaXSEZ4Xfox3YJgfux4yIYFS+1tIRguFpLF7EwrWYgwEFwPL2/WVSIdzsJ6l+woBdGqYQqEMGSiU7wPzflvtL0MGzqfR+B6opDtor3tH3/GTT3hT7ZPbafgylQui/pBVTbroxFMQbqx673sbThM058GBZApT3mGOyKooo1qv1qgUigi3sefxT+KzBFxifhdTGiqZPnxVi125V15LQPj7Vm+R+hydqx6dhb9D3thUiBGBiij0PJ3yZF8sRAFCfgTDmb8F5cD8td3IhLtLI6AoN5g36YjiktLgDAEVn9DzzR0untjiV50zToSMbDXapkqyn6aK4yhPV3dtb6rgExD5/FrZzi/rTiGWlWlD6aLErO2qobosCNPDszIcEU/tqQ3DhhVJg9xWx8Euq6u/iz+7YJI+trOHr/t03vnH5fMGe9IRd7p8qK6HEI3XosBUJh1RFag8V1tlaMQRrLSRLvaQR2ibq/NRQGn0rFxGvtfNgrIxgnKCasXZN1+wJM1L+mvpl5UmToHw7f706Nvwn/uiNjC4wJOksYaPLpD518/avMmYJYgfhDxu0vJygj9kb6G9a/lVCHs0VUnYYOBe1wh9it9RaS09h8kKpL3Q4NOObmyxNV0u214NvhKByKXQJKx8R4A8b5Q1hIBGVQloP4r44MMuUHK4XlLPqoPVFHP+mSPYzgrbV1KClKEkpSjB+pFq8tDdnwsTZ99ijwUz4392sc3/5+MDJiBKHrBJYgtGHubkeeslL+hz3cWfjm2NZFdPZtwxykCYJi6WTfgvFkoDOAY3I0hrcVeFresKNvH0l6FvV9b32BpCbH00yPwVSxwzTTxrN71mkeWTAlUD8qxAPdpFN2whie77Ibjit9P9n5AYGf2YDA7M6WyNJ7W+ffGGuNeN43d5fAZrlKGmfZni2qyA6/x0SwgDoPPw71bIw7bSqxyJV7ktTz65w1vr/392SyuwePnKmYIpqvRyMw2QXeZugl1jfp6pxs1WZv2eBqr2Ylj9/9NGla0Ya1CM61AIr/PwqUshFBDeDqGZq/sqTNlnbse+zKR2Wu1rRqxaroyQ9CryOeKOWmEVIaoLRnPyMmtq3QnSLtNjEOR8ujJFmtdK78Mw523sBAbbcIXHGPLyt5cBaawfy/Pt8eLgEz0RvO0RNS/lp2gMTtqVByRcW7aOZQ5ZE6c5P8+lpxXZP+0ZRyhMgbseGV7aJbdkXLdNC97oXiYKcVXQwrQ6P3Cslg51vj2SxFNtBmtq1z5XDoRgtwAHTfHVJE9ObEb2FXaUf/72yiDjYDaMtHMOdcqLw/o/IFnU0iFhEdbVsMzSuqlUQRiNeUStSx4zcQTG0SL1uCYKHY/U6KZhmOPg5CtI73VN9rnvIPr6ZfydEwXYTM/mGKp6X76hfuw5YBc4aahz+6SYoPG0UOEJD7JdcuOPMiRnbVlsjpJobmklNRaDoxGlU52sVV3uMuQ7Z4XdgDAQwCkarmX039m3XTjbT3QHJb+7XTH39h9tHT6NTNxC/h+/aCsTPaXRpuIAzdTnCTm4ExtHVgVd6lF4aWIRmYskqhpbnDHLPwB3sqSIGTZFpQ6/dQT06nKuoytdSMKKwkt8UweZUEGVRK1tVcCIHM21xayYN5oCK2tNRHTAV7l3SXgPcb62wZ2sEYr+66zyA1f2F0HXpDGk0aUuH8xh6QKoDnVwyGRSbnIphUsNixm3Zwfrc90wCk5a/qy00oBVMx5c2q06ADhYzl/kL/0ZD4U5MHX+6QUEarz8W5OTWWvmd/h6qHWiIuVoLpvRzJpDKPU4StX5KdEqm+tejCxfk3bWExKnFw5apgf0STEJQyaJGxrCjS27GjER7JtLI2emOdpEXc0D7UoYc+8RbrxOTIN0ZcDzR0GXRvjOX8lq8/SjD1H38o/dkoY+CUrNMSam+vC28P5ZNr8Qt/xqHwIKXzDxzAYOal1gCOD36wJVEl8QehsZBmxJ7yvb4ViADemj1ebdEbre5BFfWAmHI4bJDoYoMLSDS9KZvpMnCabNvCsEV55yDbtPPrFhccXaoge2UJIH99cfvlVibaB9cjqQgsbY3pxh9S2aomg21Sj6NELpzz5C3Idtnou2MG6Zlt6RwyOtscJO9nmJ6LrLNa5I3inVS3xp/agYng007i+4FCGe8oOHuvxO9EmelPinLhyssvgvfu4q0B1/oDiiWZXWVQUHttpYZBQnEtrfJ5pprd/ChH90khusJS+gfQiDh5xphsnE8R5rfyPx8CO4rH0Bt55hRu/7BsfC4hxuUS4IeXFbJbyDHqwoSH4YEpNycOUc4ZW/rDAqijHUSyongLkgnyVwSFrjGI7OrnR3tGD+XhpKF3Mpucynilv0/nQzYDO1TaPSGqFvCM4EqIx0ZsfTm8Wo7qWs8OibeFL04EEoEJZAYhuYG6dX4grkoAm0BAfI5Ey57wuVzD/kB01++8zQBdnDEGUW4Y9uJ4tremsp0vMncJKXkgJorVF21YDuG6sOnKZLs1sJj0JlPdp3sTn7Lp+3hJndYPyoHGVofwm0FqK8WKkUpASPWpEHVS36PUKxKSfe3klkTvgjvYEvtyG7r5r5pvLoxLdKTFES+pFFl7VVxD9T4MlJlnS/jL3gthI4wxm/qofX2/8G/N9fu5ErmnXq0fQVe1Yhl6Q1f3jt1M3C10Ed9Ms9uPWXObhXp6ch38Vc7Hf3jf5+8zM3f3TbxLhVKN5SkugZaajdlJpmPDPN3Y/C2jiWVlQh41o087xkqbDpgzUpvFRAJa24sMnVpARQsqaTNHWClRC9uBEJXyB3UN/ADAx+DY2AnfWgg2aYZdwP5R39vJs2C+Nl7QxOLxX36sR9JCSao0yRCm/Sd37H3pMK8JSJEvTkwFIAuMtWQFgUDUzcWpxY6VGiVlPNITJdhTL9UN8yZW+tJpS64YXYr0hDlp5XqMmTH8BHOUwwkXnJAbZK38kKEoUAGiKuUM/ZcDjle9PAzTtwItTx03LRC5e9T1+h7oEloetqCOov4RjFWocwOTv0G4b10Bnr7It9hob75/u//EVxAUPR21me+Ee0f6j0GpB9OCm5VZIdIdL4A7dY78S9kB77V5QYP4/yd75Z2BdWyBBTi2lwu00ip179s2sRz1azIal6mze76fyW1A/d2MXONFZxIU5+jPDH8h+KMlYfiFpJLCjnf4YzOA3jiHUP+Gp+4EpYqOTHGdwLluGLz1BhzWK7xFfOx4aE8Irlxp+9Pn7r5199xQxdgWXbhn8hHbeUoqnmNlcm9V55OrMGz+qy+VCavno6na34+z2H6Vt7QxEft0vLGG/BCFGjuXe8iswPddXxdj9BHjsHkDGe4B21A0wPEjD/YNHHQ6t0EJTFPnvzZJUjnTbP77L8QGQ0yYoZitbUEaUt1lw5cxMb0kQv8m4EkViABpo2h/iIyohuBkEPMrOFgl4sCB9+ZVs31TWF6iZ0H8jBlDf91bob4SaBWpihM5IUoCOs3M4lbc162mBjp2idFvM2T0uykq5+eGtHT2k8GfGzqFrxjNrMXLrtRidGDZV2iTu3YHGoiSSP97eJihlwYwdM2SjyGvQYkdKtFJuL2LT8FuABcvw6LR1sN0ENF2LroYp/c/ROPuZMWBq0QSR5fvmDN7qMxQMsGy4+/OCeqRnlCeTImq2P0cGsyMfSCuUAOi17r66j84A5RjfHO0TMIO/aaUOyAzV55jI2kmUyG8AdneenUgUxXjvGFLMORTkOgvWjPM5G2xR7h4Gfp7468iayUQx4qME59/e1162zLS/P5mTo53xiTHnQ5Oa+f3uQtOlcr1KWTpbYCFHzzdrn5lHZmr+H69NdgqjhxNDm5ZqxNNKls2vGxMl+6+tfEj5SKUjHEZKefE/vdGBkjbtAKNQQqHxTI6jvjn2QG897kQc90NyHBzvz6Jg1PYDU68bWFUwh8JM9r9hKB8lbH2yEmbj+LgZhys6gq9GBY5lEQAhI7EKxU539iCLJvL++rkngthMbqbhM6KI4lnJ5qfuAjJFMR3Xpcw27K/B08PfJ9mr5vuYHtTJz8DPBybu/wMSLMkVS3TUE8yj0IabFTg/rTh0am14tx1ueSSL5LtSwhI0cqXm+n2LvKDREAmoJ+qQ2MaVEV2g0R/XZ5rfLQdb+zwx1Ge/7anqcS+FXvbX4F9XOBenIHOb0hRmt0MyJJDNcFKA0d0rso3usD9KJcZILSjaNHP1qc7OdqDpSh306yiMVYxS+Bmlxpp3QJYJdBzc3dYvxocdgE4oPj1g8aEUJWe+GCvdkLBa80IEk3Y6vrvUl7aml3D74Y7qLrAvrnvi+TJPZHdrvEf4TlDy5Iqh/z2AB3N8kqmRPvlip678NXDDp4HAkIx2OK0f6mHXUXt6H+ubPHscApeOY2DSqEU3JeJoxQ6UFwazfasoXATtkl6BlrA2GlmgdUgWc5JAXhV1JsFdPhZ4mnip1fG1xL7CMET5MFgbzx6cdm2ERUZWtc4Pp5dyHXt1Tvkq91MPw3SfXXi9Ye5QOzit7g02TWCqdLbV7COIh2f0ezXBd2fvxzSC0OXQ4pTRPivYzoTyCSqRFGkCgOGQNbN9m6Ft/f7E5y3MGfsRufj1UQVUqE1jEipk+559HOne1vI7U/UD/QOau9pVRMBFmy8FRF2dPZkyc+q9bxRRhWPprYpfaZCBYThy7J55cV2XQa30cmgdOzLQK1e8QsgymrG4yv0MmfvaAmC+1AM7ryGf4pXQ6FQKErG0unKuWZOxpEjgjR97bbC/mKyfVWms3yFE6ZESfUGgmoKaIf4E0kOPGx8lR2PogWozMGYH4uxIumSBsXOAKcObCn9zpqH6aEC+KDogxuIUtU16dF6z/3rGJDgiFh99rza3VOUQZMORo3h9hd1UfzBzh+ARh0df+jpcA2/YjkVhv+eITrvi4jCNvcdGOcqVApDKzMZhJkdopv9vwWw2xu8WvSaLXtaaPYI/rd6dxFrvNQyR/8rYGYxAsWwPST27+iNxYm296hT2bCyMPmS1khOy4HiGD23ueXkizkqpAKupZXHWWvlvhBAiY/M8IJYEuybOudQZpg8aWUA/Nd/vhiInP04U5+/MwrH8Dnw9iKJyxR7+ZniS9cYwgU5602QTU7Nl3AUbenDyY3PQDRyFRrUMbcKlrXUZOzDuHeo36Bjb5AobWQ+Bf7Sbx21Cl+qhI3RY/Ggkn8EN58x5K6Oo5X2rtw7Yxm8fgS1jBQovTm/7Z5wiTNdc5NCkJv8FYslOhV2qO8FSc3W5rlpV7KeeXkoCPEd3YCAz654/onzXKX7TbfIJEJh9hnVCXw/pfVvmbqm2iXE8w0QRwaLqItMzGu5JzYelJeWnesw+oggVKB7TWGQgHBmrWcaCIfSA3LqkzKmbQYYy8cxEa4X+tM67fUFmambHp3pAmh9AwoWeb2T5NqAQ46MKF+TiVNntEGAru9GQuXJSnb6eJY/kVO/edwYUFpn4W2ioSsE+xelY1pc72Vf6XjIkizo+RHJ+Hg7tkU9MedbNjnkjORkHBW25qCpltCmoWskGuxPcwmvYsbIy1jm6AEdlT+SrvIV/3riqeHcPYIdPG+ZFSDxnFmoiEUlczykRShO8eoK0o1hDzWmZor4fDqAhPyAlrAYU+YnYqxsgI5bC+Ec7S5KAUHPjxQywu8r+p38oyOLe8DM9iL9+44kaexNBOs5JQEe1pYvfgnXn4+aaDYp9VtvGwAeUNpdAWY+PEJkTcdvOwpFnqSLwNNVYbB9N6anwvBB6KWS3UQXQTr0ZNWjx4AsKpuZB2Im1SwXfJuTtwoWIZ520kMcYZYvMUpfINch2UtlCoM/jDkV+6c9PjnBxf6cKTfnUpPqnXzkQYqp3yPMJf1hmdhXglQSi58dRMky0/4gpUjNVOtKiveKtml3T/E+rJnSV90HhdI+HPVN+WjyQy5mDDbiZsXqbKkLyg6MnUZ9gnFAAhYhLZ0O+zFzjZXk2jAdYqpTqchLNkvsnpvqWiE93jn85MHP3qBI5BSUGNrP/cIU0O6ZeJUpn19721pNBT/EIytG+kDYj5+sCryg7pPiGm5hbfLpgd3Xkwed696PkAHr73xyViR8bzXewX3elVk0scfrv1jRS+SbrrCYAluYyaBk1VAtqbROQmXpK/42Cznm89lJHk2w3YRtjmRG5GjzmOBFg9dDK4CwEi+/b4LtP9mB94/VNKjRRI4tNtKLyrVhoBv9gMeqZJihDE7iEQpByvowqNpxPpOx2eBUdqhGiFqFeZXjz1NYndf7YOE66W6ujbKVygTLkyyWvapn3+A26sp9d4EURqFibdz6wPZYt1iGyLo18W8k9PQqDkqfRmlelWxqMkfJWB7BBRlIK7NiQzlZh6OOs+qpwT/lSu9IoOXcBdzBzVPAurhs/tBDDNXH3GEoizxeoCr6y2uJdwUs6EafjwLYUtx0YJuC2gdiiTrw16R7pXPYO4xT1U7eTuau5CO0VVsM5RHojxueQSGKD8v2O6f213QoaJdyqRiJWHKAuckBoR38+hUNyOjUEgJGTy7n6fcxuBw4PKiYweNJXvYmH/rpRjgj2C8w46dgctIUElLtMfLegAoWBtFxKWgHHiPqfoUto/uyysOcRumvMKa9WMqjRRoH2PaxQnXunIWMNtXrdbbeYrxbZwbvVTtLRfmvwU+C1MFkfSPmKdL3sqf3CJ30KPqSmVrzIseEPP6nIMNG66V+/nhsSW70d3KqWArgJi9Vq6UUZIfdDtO88/8HnZkwano703z++8soZQrtpmOblZRJNK8iRknmrK0a4pfd0VZZgsX3KJ5aCuN9HWSxoUb46lEruUZJ+4yXX4TJsy5VmA3CS2i6BvE7XKUkwpzHTGL3xuyy1KMj/UCSE5aISre91gQUuhwSlzyIUcU0AXccEKhLnYAF8qHay1wrf4eiW37ExXjhxG7Xb2Nd7ru3nfFFyOxFZ5ZgRbq8k0rph4BoaCwFOXpc9Jkj1RfsBK7K6IRiuQmF4hTuopEsQ6U6mkf8pAsttfmMJpw9brFGuz+fkZslQ2/bB50FRr+2sJHwR8WMTZ5rlwry3mq/Q0BcXfCaaoYizsktM2VDzPlv3T4osszbtybkJZVcKxz02pN51qs1kXNCl6tf6/hAH0Vhihem6jYXpkaUM22+K3NjeATxOyCFpFPju5Kzm0BgBq4rwVCy27EHhiDm34nri/lFBfc2Acc7YzNPmgY6Y9qPrIOAStes67JpplSU/cv4feyBOI23Q2hnwuXedvGHd0wfih+sEQy4Kpe7AAQGm6HCcnHVDNocdtXkNruzQ3HYV4/is/7GQjIZxxtItiwMd3UDBknWxwJ6ILdcMCN6xDyWCv7QhBcO8uN0bk0HeEecQePD5+v/4UfVXPLDWWYF15BkY8Pm9pJ450msPjUSH28wpTIiOpfYEklyrlLLnGlBS0ooQZGYQAhWojcNMMSII9aNFiVHHq6bk3Ig5C3nEVu3ZzqLgyO+t6jfEsBW+62m4PF8zu/hOb/quK0bJbi5d2xGtoSUgYJ4o8S8bjNJyeLheq3u0LrljgP3eLIKo6I9AVLX7QIksBxK4PS96kKTNyNfBVUm7ik264YUcYNTwdTnDkigusvzVkuYisWrdJx6vgasRWXxWp56krm/hrFb6bMslALD3xIWvSvOwCrLW1weTwTQdwrlqcfdT22wT2/i1g9NkKPnw9KPJXbkpE/TtEwF1xoLkAUo8G6csgFr3Crfqxy0vNknfkugrFJBaw4CaAzmPbbUUoMOfF0o7WhAJu6vOUI3sjNx9XUCSD1F2pP09saOrHwgsSLCjOafN850pwLWWWSlXqIm3JtSEiz1AB0/2iRfDriDZu9xcBO3S9VGwV8cBvFgf2ETlhgc1KjsjI+0k2+UBKHba7x9cDIeK9nwWEncrEvY9i70+p9DuUPwP2y+1y7of1eCNFX24UVdrC5kEfgM9W0P6z/4naeatFVj7tOgAq+mEp2Dc7D2pwXvTy3P3k36ZyBEfdvsR1ez4G06r0EGW9bair6KgobU0cC8L0UeQMG58N2jwVfOZq+aZU/A3R29wL3AUW/9ZxM2TeGSY1fsBWWnUuOPlCcadj4/+lvLDngs2XgXCADxEnt0Bz2vqbYy0GGdgzNdLlKdTS4vHMgmQoimy6iIw0VrOmHySryxhVdJaqtauYqjqmuwI9Eq3utnF1iDBBFFkuCOefmWQtdZ/IMiP4vLY4fGGIq3SdA0GMzDlAhVi3GG8kXEt/ftrAOIzW3WRah68kUgBjx4BC0uIxCvWnVcWi+CxaDyHhYw4dNABvVxaK1NPINkj2AVXwOzyXh7HzQUdm93reRHMbTVe0/fp07w/IHLSFrzbUx+jgWQ4I1xhba9+HMorC90jVrbUU6eeQtIavj2GCVmynKAFT4lGuIusVqrZouv7GUZmuXUzLySzvNb213T1SjqTOnzEiRayMMiE+IyDWAUv5uUiQLXNV5RQy1A/G9KVXrWytNcCERNcMLtwJ6RvwMyruZ2hJghudQiJNZJmm/csi6A21rab9Ye2z9cpyL7CVmZVu14SyOKictP016+dV65HwQmTE22p1QVFHGLBQaUJ/GRzpr+khX/Gvxzd0OzfH8IH7yGbEtbS9QYiO36meEacIOwJ6XblGEZ51bx8T+5oimHRE2ioSX9nHATjzEG/0m5QpwpiKeuM2m4daIG0stmjZUY8TUg/CPNIoUHd6eBZAjHGZicgot7zOzeDyevgtrKeUYFRRR6S/z9FXNWbKxXpBODwUDk/qVOTz453/ZPiCr27CQ8Km41lIlCvwJ+BYCwlTO9pCie/NHHt/OnWTVTM90IJQHI3saCUA6+TlcFMXynUa3O+lTI4yXISSchNnU0cxbieLWRtOMLsJvwxLjUr3h0LsR7LJkeAyN4S2Fn33LyRhc3nSmapYCcSLBj0tW6oDW2zUoPDBQdV2SoIrJAygOz8v9gYPBRS9dXzpX6O0IM4sHsJIdF9ExhJ/ejwVT2o6mNmsCiWJEBDPf/EBcHmMROxVPJxVDdn2vApD4be5R4DFB0fzRKLpqOBLoRs5xI1Sj7c6CF7icIuMQVtHyXzOKpN2t3OjpGOolU5V0/S6Kn+HtFxLLi07WD6CoVT4sSFjmPIkmDY1oYSEvAexj96huzy5r41hZN6Yw4wvUA6YMaFthIdjYQJQxTFcHvfWNrDrd2qh84mHWLwoLvfxZHfowpsPc2j7j5Fz69Twacnd2U22cQAYOZsnHzS6jDDZ4m8h5SzCXU6Xy9UaP3bGs4s5yYxi57EJ23BXcbEwVGwRnvv4IqBwYCoSy2UUtKttEU+gD8/YPfOpphsHLM5pHeOVHgddUm33/pAme1S72ByQ0YstliybLdexx3KVl284Ssh7o1jneNiiG2QGsXFoWG+dm2nFwULzXdPzpxFPooB3P55Xaj7QPdWTdJCMbJWEO0ahzd8Ox5h9y7NhpZuaadeRsotjJlRTW6SEQ9UWcYbyeDpZsIP1tUlrde+33rdqRsEpyCW3kd0IZiK7g+na20eHRbLwyUvOQZhiqqHCP9lF6VzsWZ3EwVKZk5pFtHqsp+G/8jZqGOcvPP4iYmiiCrBs6qWrGCwqcf7wa9ZQc/gK2Y2R4eaVnKyCa48JV96O52VzeD5TRnWVviFNbVE4PeQ7Ke9NTfg0M2yP0ro+AKze7SNum5J2c0qdGDnsZ0JEuaCh+r2f7Jof7vvSFSEQPedizAvfKzzzXyGZmuNReotKyIMjrkJWQLvU4hEz4OVjYXZc3Or9O9JOCX42TzouVErRzKJIEdOHuUsu+H9ZraXsScjaiiUQtXjQQPeKD/sj+A0D4at9jMODOYm1bPOdLDL+9pPU1xjSB5cczHmSzBULNzfF62algr6H+TqU2oCokCEg4x2dWJTc7BMV96pm+h5fuhHb7vMIlWvZDzXUTwF/y6KM8O3NLr1uFPviOvNbnhJbVr/t1nsmVyFQlYTEIBPxCc8us22utF+M0VUwni95JlmSJQpdJUIzcITAmH4C1hzE7iv8yo8F3iIVMfM36DC4gPWQ9WYzMh50Y+pwYuN/N+Vrd+xtw4gHXHzRPtbTMCk2bKFHLB+JpAUADDhCnoimJeOieDW4I7H3UHQMIR1jezuffyfEK8fJ4vwhoX5+l5OlTf9CXC8XuZXO/+FYbwjLueR1wqVyiUEfY6/9Qm5Q1XlJxaaQx0z/S5iPAeFPIfCNo1PlHUptPaJRmyqlV20vGnsBCTrw/iB3Oxo+LFaxf5YqFo/R6Oxbc7rH5/0u+m29veUrT7qS3LXedQfJ7XGD7dYrd8BjuwFcIOLCJVTn5C4nyl9BqYL6ddNzdvcj7Gu0BWPILwhQOF9ZPzNqk+1EsYXR8yx9XELXXD+oCjVy2AG0PwxgncjMIlP1VKFexwC2xIR2hJ0rPqIPiZJHx3v8eZ1+/Y8ZDHorS0ZxOQEAawu8W3lrUt4UsTKwF4bo5LWGkzSDsvCv5SmuHKugjmOsNAj+oqbWyA0/fePh7tZhJy/EvOopm/BxwbQsPTKHLA1S9SzE5MJfju4fN47O+bI4A4BEu9KfQqtsCekRdXLzY5O1b26PlCZaiOfl21A76xbvCJNASfBiQatVRaMQmggU+llKfLnCaALWtifUXvq0CcQ/EQlFFSTHM/lQbnsytTbmXrG0sPPFVJGpQEtz42E87rPA/IOjOCVe9z0X5Ny0zL/u8b06sHtiqSNKnTdVLQzrlXvmGGHNUoGKXrNFVch8PgZyPsBfzOy1yC+youk3qAwceuN2vhiZIi/B/lURWVffdYiTjfi73YOsrXyIAzZ2EGFaS4VB7gqE208+NYo9YQbovO1cwXTZ4Rwa7k7K2naHRUIVwSfrDuFQC+D52Oblhh+O0sTgRTC4t55aKMEcsj3TdfXANsxpVHRWqZDWnGhEPOMwpP/dhZGr6c320b8LxAlyU+WoNOnS66+N45s89Ohxbuldb3TrEMOvCYdQ5QJHzXaRy0FiJ+wYTJjXIgGjQNtJTgd1FmHPA3JQTpaenijcvifN9vx33vC5qF1yEdXtiNSvO7fUdDm72m+EbO2CB0/wfSB1Ev0VkdOONDyfEOe2N68IACMNci92Y7v89FIQDz4fXEkCFevCIr9lFxhUt9FZeQAAtQrpxViXnWHK3SLPlaLlWKq3q/rGSPEWc+hTy5UCmfExvjzbmRn8OmTdZagoZPQ4lQ/zij+OdFWaow6dntKylguT/goBvgGlEMrRvLKOfLt3THVUR9Zhdb2qtZ+ImChfjXWHp6/as+zgoRYfaEu8lGOK13OH+xgwKVjQ4DtLTkCuHT1pHAihPcuWNanbWqpQIGe1jNRMJ5MpmXT0iJtzpOACi15qgEWrjNuvd4x+QQv0D5C3hS8qoMALDQKD6pKy3Srm2AqHT0i5GAyuOfbldlp6gyyrRkvb2FiuhUuM0CyFSlH+qgAjhCW+1bnIRZFBycPapxgTZ7CmIlHl5pohSKE0uDr1DMgWBOwXV+NutPSjTfgFlAVfa++Patm55B1AFJB1j4EfH5luHTWEINjDfO3kiU/bpxnz1QLxjc439u3HtujrNvOHBUEYenGhB4y9ka+OtPEoUxAXLzXmIuHqkcxeU6i9Af4IEceAA9URBP1egZsGvabWnHLkHkoR2Gdg/qz5Z2jiTzCCPUBKdWz7ZzrJdonapCsms4oOVFgPRTvequ+i4r6v57FZXJF4HZ+/yeK0q+5IGIdK1eLrRUSr+hvmLpL4Zd9a041juy4mRm02xPmgmjWhlt0xexywS8CfBfK7ZjvyM0jPAaCN63YIxLSHGh1iNZuW18jMSRU9wAdwSvheDQ+vxAa/I+VsrPf1DCUhZ5+4vJh19ov2LhYnl3DVJL0tCa3FwyjnTFFddvaoFHUMXgNObSIV7p5KhmIofswo16c83nPT3MmOMgREpFZr6yYCIEroU23UDdGgd8M8QWjKSWjDpaVAk4Vc7kIWkSaHsbobTf3JxFtOKYU/krCCeR0V1LN/yOTaYvxgGKKZOb4NHViZ5886myXRtBsNSiOY4u7d34SEcuYK8c/zWOJDyeWFCqpm/RaeCoK/T5D4NzbMFof1CB9OMPYuT46hEiNhTSKFyzRvXf9uc07Kz6CBPeRj1qwdQISVkZaVPX+MEL5wI1tnbj351TXnFdzgoGdLG28trPcaceuowQqy7VBraEGxmUrgX5weyyM5IwTfZbICqcFqr8EnsbYvJp3pH9kyQSFVEgOsOQvZA/s9MqlUWTn5K2pP+lMwm4j1E88K4R8dFrk7S34FGTfO/Sq3axIEVYqOfE1Q4TR0CPB8xv7hQ4Cnre9lZu2MOEMhizuE+hISXBhCLDoRuTMI3VOqt1WfsTEHnY/pcotvfvQ9qNNKpHWhMMRRyqCbWf9R/RPRNvMc/SvdUq1UdpkjcoyQWJ0wu/MX+tfewqUYxXmEZMe5kqujWNDwXh9gFQysPf/sQxNweL5VkAilMMt2tSBzxwxPSt0fNhmLSWu78rDsSVUo5mcssuapjpbyGZE29sCp+pKI8si7RnPwJJxO7Jk7ZS6MCv47qygkJXszUNXUg2xYsa9Agq/lc3MA2RRwZOgSrd6rNy9Li/N+iclDxlbc+bqSXiLumqWa6D1BBs4nJ+YbxDCYdQWSfLmdxYeFZkUPGUSezrAkqIwRFoDktXab54Ia3zWT2N+SJjdVF+NgHnMjSwpt3l9IHpdCr5gF6dKOef+UuD2pKjMt+bBC+2ckciJLe31e7GAGAR9yt4+2gBDsXXYxC6cwNZMYnwTzsUpYNqEvyVJqphF7XCVAOqHfZbmbvkIMYNHhoL2BvfA2A2wsGKiFeZBogL3kRYpg6QrKZcz56HMCSXrPDW9s5hozxEyB7tkkDT6gXqKy/hViMtXxaHNoEU3zITDlZv8NFEx+9gtqJJ4oAtr6n0rdbqo/hnrRm69m/trUoJZLuJZeVAEIhagwtuy4iRqJ5+pMXdDr4PvpRwlSkBTk6/khOBWBNFHqCfdTGzEPv6ywgYWHzMqf0bQ/6IhlK6xpFed5H3FEsHdZuTCXmfvsjIeaOPoG/nFVxoGXK6XZh4oZFHP8F47bRpS+sepOHoHpuD8Z28z9Vxagfv7TPOX4CZEyJ6WtJLWYZm3g9NdUWZHNeNIDzEZyxGNIw5z06siRaHP3j0sdnoh++mcN2wfSkF8n2pMZWvt3eOwqaunAEAcpjJkh1qApI9JCFnRFzvctFMkf8N+DQdqSkjHQx+ElP40O9MmlnpkFWSQnBVYpyerUyki/0aId0VEvFqIeuZZLZxqhJptRd3EDY5Fi8mUzX+ifanfirH6dUS0YX9JtnzAWyD0e9vwXQTvUUhQE3tyZYfgJ+HVD1VkMqj1wdhtMuCXBYXGnUWO5hCn1WPAbPtmMGL+Za7Fmn82STDoHFmqa6WdY4fb39mClVoka2LKt19fxdIZEAv8abMzmEIhZX5jPfMOUSWIQwplyEM/8io6YAc0PzAcJ5pS9zjBU4XA4ZJoxPMhte7sqH1YnPHC6jmFr4cfvVF6jHQNKG9IaGMTSck+tTreFLmmRbUh65SZlKQu3ECy1Tp2s6uoj08tg94DiD2oXd/2qM9yj0lVnc5yJ9EAAeD7B2I2BkV9iSGzT/2QMHrXQjRZhUTQwrg16kWuo3RE52L6GQ3eE4/983C0yxu83m4DPAFzhyirFeiprdjdckF3LQuUDuHM33O8Q59aEFCDMv03S6pEfPQc/qTXjP/zaiXN/mIooRP4GMZkXXFimT8VQ4VyZuiNy2x/+LeX+IWhG/2gEUrABbZKg0m9SKUifx0k6uiELwKKIFE7LoQ5hLfzs8kRYc3xLnWRJv1YfUZq2bYBfXElvmCWsRn2uIVw5mWbwfvYGFpicYXc/FuLwHiNsnAv2of2HNsTO4rzSMPZURn/lrxiC0BsFoqIHlGUOxMT2HqyM6ddM/uYW5MqBrAiYkUmej+O/kJ3rA1qcb7O1prejY8tBGDrVH0+uTEsdAWtnTuisDM3rT2TDUpTFZ9q+ybjx2D+9ErPs3zge3kjT+hAitW3ZGqCpGOy9MfUfN17kQuSHJAUxq4aYD0bT3F8zD7Fk4DR8fF+LO4W3pfKPH00VidODOEXEG7lpscBbzATJporw6vIRRPdWKhJ0vCbl1m36T3y13aA3MTYPhG5qL1ZrPXItsFQrWwj8FRZBtOZqthKlRydVEuaSGDKDlSbJ2cJ2bAuVTjpQ9n0q/taJnR37LF+cJPpWY7+7UEQUVdLv4IuXoeX3i8oHgFMPuns56umSidQAi+sGgwtvFsXLRaL18RS+nf6OkSmtN7EWD+DYlNCFR/lSXnUpjooaOJ1kD5Anlao5SRue3bFbEtjIz7RYi0QpaGmgOuTtWFOGhlLUhLxnNvkngrSpplyc23YZwV/lAj/YkDpT+5VZima1X4Cgb5XUqtggG4GAlV+Z53AbQ1W90rO8uOYARo/c3MYK2303JwsvdvKc7f23ICNZ7IChoBghYxmB/CR7qSMpyYsjZYwub7IvLgKYBRsUSdRh8YTN5r0xBKXJS8WNvzlAEESCqxYvFaoL1s1dwGWkO+tZJ/KlBjdtY3bJUpNaIwkmCMmoBlQLelcOWrszpDkO3D/hXPbzGn3FP7q4LTGl0SoGIp7GswBnVpy/LQzvuhrfF5TnYNEwqm6jEQSo5vEbRYUNblCTwkCzwddT0Vbbj3KohigB2dvJ5/IhrCCXDHJQusHmKn6FHsUFfV0WlQTAEtZaXxrYSwbBx0I0nZvw6dxon8Dyt/F/KbiFlrUJroJD+4vJwp6ptYILvbZWp97Ty2ozb2dpjhyDuKq9pfdKo/Rt6A79IOSy/f+dEmn7stydTlKv2/23gnWuyyfnaj1CODHjiICgouLIUGq1szzravfYUXHIdMg/XuCUlXI/+vT6/cErXH9AENFmOiLdi9yZfAePQDDGTong3c25KbIzilsIoQGzoQit3BFmtoh+sY/qjnwWwuip7g+dSyTuPCR1NZxAldbQjRb6RbO8jjt1bDAYCp8h+Juzy9aU2UlDmipDpIJ+nUDfakXybLfl7yr3EWPIYqMSe9SZPhKRz5G1VVhnZ+hI4Jc/+3pjmxEjzOScpfqaigOHsxy+uv71vK0uY9Sa1Eafu/bUu6hxP5OmKucI5op1DsoQzg7VZSbLXw/OoiHo0AOB3omCbcftSviHX8FEDXdwlhy6vOYiIjQoYM3CPEW4GIV8jngW1PlfUdTJFFUtuLiTAG4S1TQ3sCO5J7+lAO2AJVcqq9d0cJWCVGbTBkezf6vBEEzXk1RaO7uxcKcWRzANBIBCmfH+fys5riCikfSEwSEF1LwLxSdaEx8nv5ozyCIpSbah7dAj76nJMASi0Ch/ZWoCFxKaL4nNBrtWKFIhZZgVY1vXCJEGdSqY5IIXhky6shcJDGm/9beki9CiUsbIIS7mscr/8W4EpmJjXBlUhhhnIymKeiXxrPukuFrATlpeAx+YeMXH1G3xDTFkyGhELoeXq9QyUfr2Skjh8iAxSgpFPQQ8TI2yDsnVGm89CzEYldrWQJqKseBXl/CXKBc7jkoZT8pQ/f/JdgK7+/yErl5ofBVYT0G0CENd3RfVO/9s6OSHYXEObTCIOjI+ZhUnPuJy7fjgo/KJgg2sTSk+8OjTFALGL6jgwYRsgcCFLuZLlJb5Yz8Cyf/xb9IM1xZtuf1bTAnjsa9he+3D5dO6w20RzPoLQWHK2Aev1kuQXHOF3WsS5f/r6cbPZm/qlSTDh9iEfOd3qQKcxHAfGe1yi3Dy3IwEnyL6n+pRsfV4S2NTg1PDvUwY9dHwbh54wI00DPcIw9rYNYtCLtbP/FrwG1ChCf0lleml1+1RzQteQqPBpfxOoljOtnRG2RarowfAeN/jckQjyJ7I7ehbktbts61RyX4sgr9lCWv+a9hXh8T6ip/LfrwRxIDHOpUzFnG/iZDZdBzmPwJLP7wRtwC28/8buu97UwvJVjWLlJlvb9ZJUpDTAjYBR6YL2K6xi9cRe0VYxhoL6wUPZMjL07jQjxSwaSKrJLVgUYUvHReX/GyahhinzuFLo1eibkzJPq5FxdvO/jPReg0XV/YQCAGrsNXTWrM9ZinCA3CYv5XgqgT1ZbrkrM1IMQvBJfmlIpF0XhyQ/C45chwtYq4LgPhkp5uudLETnNmlaWSkHxUQyHnMHWoPMEHOpWHlnWvR6DPLyx+FDk7MjTw9gxoe1hD992mgmGWAPszq8UPwP5nRniHjSN2hxoF7bfwxsJEKQP1924EF3n+zRo/s2LcOcKffhs2tHVxri2RATfnIX1qoDD97+dfJCAF8goYnq6OEOiYEHV0BfEbcFnpqhkW2ybMrFtkBahyY55Lj133Wnd6l37CAocV33XcQufDcPdFk7YU31bzdpgfa6c44eHgVDyO04ot+FfgzoX/JAOGwc++hFSYZgVhKSu/hPjE+5GbVkx2Mp8IM90VrcoskPnr5PWWN65TtcmMQm0MsrtvkfJ41rnn5s6ETsfWljff9RWaukAmFiXybrEJaWjqWGvTjiwDarBfoemxc2ri3vEJBT9Lju74t14e4yxYahC8UOyhkhR5NXEkP9KWZoq0/wfum5POcIPH9q0IpdaNV9zCs60bF8wmG6pVTc8fusXQ6CirczqPMWqplxusTjTM0h/DPEwNYVzSJ0CKel9wNXvhJ964hCLeQUvRTsm/hJG2tGlb8mmw5EPiQYcTtt6PId08SS+CFjG7RZJ+M+zGqqa/0oSU5x1y+kHG9mqT0RphjzaTS5gQMoLzvZqZdpqWNXkL2IgA6xNoRWJkKyW5SQdu6VuBhH5W4NTcqLu0EdzrLiU3MJm4fTxAilwOXOSS+NnTQl2lTv/clXcMJFC4CVLNfkBaYCNFc/SKTrcDXH/ahVR81GDwJiLfKgekgSvlw0YRgnRM8sHuPzTsvfgI70M3Jod+kRZ0lG+3JCtpx8zi+DvCIaDuMQiPWElPXUsCcsgIpSTQ4utdCesfFqjBilBiJLEBttZGGKpgcpyAcQhYajCw6EWmDxnxufJWxGyJV9z+2O+ClKSB9SVGgbcpo8n5Xvw1Wfr4Fj9Cuz90ktqmndMQ4P5kgG8JiakiZ1MJmxWFe4IDjDX8bXdjU7T9vFEhITHFnEn3izm1lB/jqx9e598jIoj1t/EmVPmRi0amTJKvf6Dt1sU8saxPOMd7ei/ynr5lhfc3EoUtSSVigATPkoeVG+cwViqWqyF0OCOdfqa+HLZVdxD5wtiDjp1IxYBvAVQnGNxBKFtzYcWQg/friLDS8UU6Sa4Z4CTOqbiJZnHSDPSB4gR22dgxPRtH3mTBUWIvhKTxwKVwKi2MRZhwvjTlgWSeJxtLIb4Ox1KjcB9OLsiG0rrmfd0weAceWyVGte28mQ+0+VoHaAivFsYjq73BzaFGaXCIaUmi/U/8lcZEkWIqOWRcAXZ2s+IA0m6Ob3ngm0WB8bcHGQuyJiz3Xf7TGwodA2+SO3RepYKr5Uzuv23x1tTFbnvUpifomIRs//XHXcjyWxaOL0vv+Tkinddyzac6coifZVN3xNglPBdPu1m6qwD6k7/sWbO724pIyfFWEJSWIUvmKE/SwhKmd7GovhTcNyEJudmo2+9BxPEYhaA/z9WJIgE9tmygB9oRekupg9h5fujUwFZPWFsLJu3hYgQBCF+V1KZtlrG4gGv4F8WGh45v4CBQwfQG0wecb29igccg2sffcfqP/K2HuKfJA4gnGrUKT0/EmA3Y+9xDPCzowBIefts0EFr3NTalBwOexkvT8M4RY+fCIZN++H3DuVzB5XogIOCB4o/20gcpMm3LZblutJivE3kNEyUM6yX4U6ytg508VY4rTO0UR76VhkVMXJ46x6IDyFQMRpkjBBukhHWO8G9AG68EohA1anNzYeAOWmOUam4ymVo8aL/9x1S1cvnfNeoKa2GSN59OxnV+0A3jPzX9c0yba5OvgOlR6yGewHrW7wLF3aLltM64qXbMdFx9/ezKN4LNY6HuVDzHqdeudRKvM0l0ayapgEUVEzVgGF/35AdpFBYamc+1jJ96Y7rJeJQqzvSTpIspvUqzL2V6JNckPZ5toHtpKxDGDiVDtx8QJV9+B863gjz7HQVjux9UF4qL7yaHhYeICjhZ91DaJrm7Kt6DXMIfdYdOPBEcXgfK2B7CsJNJgYHjgfrOEeXNryMm0dS4yltRGsYguboce15XkbiTsSqE63HxexeKne/nyVPYzX/7oxIYfSXNgVqY6QDWYxRNjVpXvtF3oK4TfsUeNK3koHtcb7XvoeibQWvXAyCORhe9mub9e8EWvgotdju0Ql5SM9fzAIuZx46SiMRJC2RcFlTlHVQwYb8XRUL5wFnXXCN1EPHp5GbglNNJYBrzIPAx4RPru9ahSbfRagimgW2Dnmxu+lq52DSMD04ajTT6qN1IWktPuaIPgHaVaSpqeOO5jpQVskJ7FV3ZrXAzCjyZJoDUtxeUWbZ5sVps7wUbIbvbq+/VSrmo0SxLKmghBOfkbqiQe+9CsxUNe+eQEvG30VxLEpBM+NxQj7tbN41NIQ6HUxqV2L4y2wzvma56+WoyGOrZRkQHwDqbO2NLCqEshQgBgle4g7B59Gq8Py3zhyMzS/3ieQY6wLAY3IqeRnjK2QYidMqP47iN4ZZxvhP6jvHOAhDrLXVoHsZYkzsOvsv3mY/77UHO7uICKgHRtAmiqQGi1EfI342c9/PJXloDFlkKjUe8Ow7B/3ZDpX5lEpBbUNBjKL+ONGQSc6Rn94Shknj8lLNhZ+ae02mwVD/7xCAWgr21kjcBA5LP/8+XyP6lDpdyZXm5O80OFLDL28Mw03JIQlntxwI7i9IZ6FOKQ47epIIdqilOXN/LtgfxYSNviuQjUla9elcNlU67XFBi86JpHucv3W2h3PUM6yxjE1fGlXGA0fYd/kILQuxZbMZJzrvTGkCuUqUmrD1W61waOWExl+sLqaBsFqE42S4FYR/REC1v+7+mXSfrVjJAZVhxBcySsQauEP1YtaFcJ36zOFv2QfT3vG/2Ka4hWUfmZqwJboashmnuE6iR4mLqF+YLdIHbG2if8P6kn4p/shLoY7FOKIlQpTtAgXlTKPxx7PYcdG8mnDoEAiGk+I0C83TVSG6mR7uQSvrFenVm7LTtS1hdYaqPwfKBCPz26BgTjqpzw+vGa7UwMgIvTC5oqSGrW+626FAeGsNDQWf09KU2H4/+AGceFGalj2ce4GyWDc/NUWSmwY7hzPERHvgxUR2xR1K+fWQ63B4x9JvS4H8G8GPZf6BLcDzM6AlReeabvbc45BsFDHUgZcrRmwi4sPCfLfnEVMSVfgrr8ay0egpVfQF6w3j1F10WyWod/Tz1mYfiapqOfXOT+IpjPDLEkLHwucQUdZzZOYJZC6l/ZggNClFjhkL+C6f+G65EyP0AeUD5Tx0m3eV1V6tAajaEBmg2omZzQphQtJUj80Bfbrc7Q8joXp2Bd6Xij8JGd+Z+cfEp0ahIWtfOmICgfVNP4YTvhee//xilPdOlBGGgsGo1evO+GkSd0zRUluZl9peHPOXagUu65GLy75yEulMp5ojR9OGpk4i1lEFcDXV0MWc1hS522/+bdMBnIEkS+ftPEbovoy+fJl7g0BLPOCaPEqEwwof/qAfEy+dyUlQsKR3q1XzNxvZTQLbweQcsAZdo1bWZWfdWPyPXaR/9B3czMHoCyDqF84DDxYql0VUQ8Lvm2x85po1V8W586hR1MWttENXCPyg3zfJKoeB+3YzrQaUmHchpaHOCth66OJu9+rrAjNJ4pZ849HkyAMdfJUAWuKl6Aahyr/2l61UwKQWKYn2p+mpTTxWizmLCuzufnGNbrfl+1+eDaMSt2G44H5cI/2+5GkfuGiRBWzZlbSkLqRotYGB5Po+YfNVqOWwuB00v/uOpH3V3M/XmGAfma5DzCdhnRfDKuJM5S0QgHVmcMjccFCGSoJHCnrvHoykrsWaWRd5Kishq9NUoq6qmCkPxrgcElE9S3S3z34/CjRYQP2Y0+01pmosBsFFjSJAZ65dYcO5m1L9kCLxHt33HbEUic3It2JLh+8DPZHPp7FRlOU0PyvCwlehe5NMcR5si6Wc41Ce9NEA6r43czZOWJwlNijg8n5JmAFy5TCtlsJfpTyrkJF6STDAQKTbv1D4CSzfXgGKEWLhZeu80QnuD5+fEvxZzEXhlZ+qPG4x1FvfTWBmA6FslL8uDnfj+njad4zjlKHjyb1Qdv/uKNTMjZCGC6GjtzrucVOB6n8MALk4Bmf0SEK8J3GKKBttVgTSj7qJodUbTGNnwcQi+6kAGTITH4vToW8qZPNRY1FWIKN4G5enYqIsltUzDtTTzrRuNr7P56D7aQUcTLS2wrn3PF5qi6kqxeVRxZK4YA1M3HF4wbvNGBcsycvaeErJd6+uwPWwno6H4GZQeHhIq5/cH/7vwFrR+8AH+O28dvDt88XBTuNuK85sRzMpEJtL+KVnOMopwejnEnVfw7bvsLKVLqomaIluWYLlJtOz1jZowRIMcYU9gHwkzNpSq0s/DZqP2bSOCkDhyoCPfri55M7xfxxy38xgzPiySiig/D/iENU3yifxEWb9YJJvDrp9HMDP+5jj8aO5U1gb961+Hk7q9anNQqHXJdv8ZybofknrVPJ+KCpKt65+HUlSs4Y0jjcSUk+A3bd3kLeeVoonYTQ/ko/rbFcaoli6xHYBQB/ZgmIbGwIVnSQjnZzM8kUpcNLEuQEa8K/gDz/CjrHKbUUeIzGdJF0lGmJ+K1DPE4zJeQA4lB/iY11m5b+4RVkqeld7+zAENjmyckW1922t1oyRDHdCkr/cQHjstPWjKfP/8bhTqChvOF4iBxzXlX1bWpEyTYo1iwECNwdrp2P7EIPEC7iuSTgaSiBLyK6NV83OyIlWIPxktQBVtbQjDO5gdERTyIBW0dffXrARqmFlvDxgXXKZUsx0k3brIzCpBo5zPpXl4P3xdGMco3VG+Dy5b6swpV3+9ZYqL4e4RU5sLKnV2vmWqoXYueBT0r0D7Ozlb2bdwb3m4aFfBbFtfIaPxX8to7nnldBbA11NK+STih9s18PHZHvhcoSGRlUiWYTP1chrvwKd3570M5kbvXzFnaq5jqgNezFSlUlB1384o53kQo9H8B30iQOobbSqhdwPN8DGl281Ram7aWgvTMcSaztG6mXt95fHNkKLKY5LzkR/IYcdgUh+SbWf8wStCMJ8TciQtOu2y6Fx+gViCWzFiv/V1hfXMV4ImglucdZM+u1WJEdLHABmtRiitgXKJ4CCS7EWbqgFjZ5+0j7ukVcSnYgSm7r12uNiSEtIJCI0uKy7qohALJa+sSKBoVlQ72IMgFt/G4qotEbG6BRoxrgr1Z+Iy6bvOC5w2qfewofMvQ5oh50RzkHJnbEKFKG2tM5r5Pbp/FgAQe3Eq0ObxInbhL5evRCaGQ6FT9q19YwKXVZ3tM3nk2kFlIbL3rRbBa4WONsCKIGpYh/V8TxmPQEdabF+E4nSZh86WrkxzElL5sVLKkQRSiCgpnBtvoMszMifvmXheAwSm3/DJLA1gL7t4/dKPo09fV2SC3f9ZrM41ZMcpy/FYWkfRCEExmJ7y17j2iRBU45BFT+gY8N1a1OaxIo1ZVO/Cw+npUH7H/wNkixTX8I3fv268cGbCfZloC1mzqJVytS6H9acVU6VwHCVk4IC/sla4jcMynqawT6BcUL4QVcOUZjIn8oqb7Q+ccgGw12ErfsPjj+XUHcu+xuHRqHala2vbGWFz6qNuqd4hUehILB1+1IeAtBapkRitQT1UKSmjHTxt67b5IfzmH6MQZPpYyWe77UQiBM2GN6UBeIy8NV3Ch2TPtbQq+sbGRLFFsfTsZ9s/Em6nPH1z3rw5TkF+rsLJ/3JcwGwiR2Heg90xJODaLO/tDP7vhYeXtTa7tymIYYyRkJvnPtN5zOnBcvUgxVb6RiNcgV3CvtjLBeUQ0TfyJ0h+WWnp8stNP2r76EzsNby0MfCqFz9xRvWE9dnnhl0x9R/GOxOc7snAb9sgWwu+ZMz2VRD4YgdIo9aYpZDx6tmUHkv9ec8iMHOrUcB1C/+DRrf9kdE9J07CVbY/HhMS1dxX0+JipTYkjV8NZXdztnaC0c1nLwL5TDXWJSDRxMN4N0nKHgO3ymG/h08tkXOMfB0XmYSDYoQYwpBNSPRlwQ5NMddihc48vN/fNk2t9rXWPRd9WZldn2IhrEKh3tURbGEMNideuQRSYx+YnDhwOvVcaXpTiupg4OmFG8Md14uTgQnnNU6waD2owhtHvkrGGTiPxOerji8Y6aicYlrYmGzWNEP6lYatLHT+LrUtRXvnfQ3ZCgKyPJzCy7TgLFWdHUIsdQGHssehSW4CJD5tu1K/igIroMHrQpX35nsnO3Rsny5eUb3351nD+FJQhX2DC+aSgzWB6vnBimKw+KxaRqVCgGTaXHEkwsFmkuVGmTz2zSC6pBGOjxR+2ui6kdBcbihqQ3sVrLHm3letMBqtpnZedniXzMM7Fbx1NP4lJhFTdWfU1Qbja9PUFc4w7J2l+7YYM+XoXwLUR88Yw07ODFMgSoasoGX0nA3lXAuFeaGh59Ort+Mvw11bqPSSwR+ecM7FVE1ueKyL/qBMofepkFcw+DMMmtXzLfU//JsROcgAmPUHeleM2cGUbLVGhOK1JUMqHHgiej2fm/4rcmQCT9UtbJW/Y8rLyTbniQ2UzyFchGQm6FALwdfePTNo5H1vDDYZ10skCIpGYrcxWFhIGKbmPX0Fob2MFdlNslfMbpd+3SQRKYZ0FMoOIvhXYf+llWaX9Wwo5ApQnDUkfdzab3LV2JXsYw7FtrZDxdC5VeGxAOE3q6lQCzOOu+nrHNGe6UuTTZU0kUqmaj5JsawFgwu2zcjg53jo/KjfdYUQRTj8Pvq00G0f26zpRRk25ezzCsMEhTBg2Z1kbhyYPZMbQQICSe2y4rEx6QONKQeSk93FZJryDjkF+4TIEW7DrGQi1TZniH+NDcnwvmt/nYSjW22HAtO0z9aY5Ex6C0JtcmRfPi4FK8YvbpUIsPW96aPdGO4a4WeDNWf60s7JSkmosNs8Qx+Hph+JkxVNFcm3fNSYSKi/+fxzPyWD1PbV3HSwdDQYbiteW1Cme7jQvxa/7hGATSg+AzK7WSInby2iJ4NmINHAfzXQFHEMCYVpgHmj23owuM2Aqsts6D9S1TXtIKCoPpwTeENFgu2mOWsl/jgPcmupsmpfUySVdSYXFC3jC4gbDR2kup3vQgDooG3HeY2Q03J+2IUCA46qmG5LjfOAP80OO+mKwbA0MSdcE/d54l9HeEuyRbgDkXpyCgLXdsnCD+Y8d6bpFShuUqQurL9DsWeLVv3YCWKpbKuRwBAbJiJPHpTHf9AnFNrh8WAmBC8+NiWke8BntQvHADF2hNZ4yYqA7TMyF9zLjXFRodsGjXllNDm5ibEXYf7vaYwPA9POEhT/kmX+q4EEVUAmUH2/1kaYrtqF2oCnTx8fcIHJiFD+a/vtmzQnH7fGO+EGCJSfW+TbhJt9kmmCfKZ6LICJ9/Xbti8T2olmCKFPTIuFkt7mqOEOOKRomK4GDYfsIjGTtUnPXVFXKRQpJKOndyW4WD4tBEcRvK2S6Oi7yi/dspPOoerSn68Nt88r1nT7U7pyDIYjv6RUBafq7GO8JTbZYlTLoKgjysY/CiT6ZYZuIwJGusASk4K0u7lnwmPmwXgQWZPvKct3bqOLASUy6qoMtBIeJgyRw5YxUwoZyZnPPm1ZWViNyTSfpqvtAUbTX5P8vvSOud3iA9w8/b/8HiPTPsOL9JczygItCn4Gj3MZlItxllh39s05j53pthCklnA7P8SwzkyRojeldPu5KGivfyJNr209unaQezCOa9ueI8j+KmruND1JfkHofGyzE5LC+RpisCOIA+86tnH66jQFK0l7sT8ftMqX+bFyjT6YkusHS15ORqMWb9XuxnutwZCUSUqCoa1iwMlKq3NcEC8bkYY5GpB9FXw0Kcok/JmqJpb4xBvGlps5rUH2iq6Nd2fQNwg/qOKPEl7aFT9ZnwuUoIB/EaeGzN45DWJ/VJ5w6VQXdhrAaDCou3fksRQzVWighQW09Pq1xJ/0js9Dp45OXZmtFR4TavtLCgjqgX3RU/ZrexSlYbQvMg1Zluyyoo+x6AsvnZ0BuF7+6un7NfnEggsYJAwlvDMGU1gE+zX18n1JfTJR8RAO8hofPQaNA4OyIFKWZ+JxwBq3WjpCOJL2UwLEmpvsK0SY4fvkuXybZUQNPV8dzBNgpb+V5gM3B665tnCbgRG+zpQ5rnQhJrZhx87jMeulebtyzCnGzZ67+HtiIenV1TngTEkD/nGfS+4/ib4vzmgwbyc2NQlBQkQyALfVWLYhf4xdKbOu1HxewBv6Ca1a9Xp/CWpHVDtMEJ7k8AuK+wIPc2O4hJjF3MXjKufPwhc1EN+qmI2OjKfIQvc0wXsIEWeWKl0S3Fw8UAOz00hHnmRq4+zboZy5rTOWW+fFQQCzznydtd64WEX/wyNjisIOuGo3fJgO7UBWIPht6NY48/PGGBSDMaxgrepwxw2K6veLcrtQ8RMxqy6HhbUgVwVuIFg+qhcPfjfCLc2RlyZovQChEy6658BKglcOWYhz6A2PjfUJby9j80i79LjEGJokpAccTwVCm/8TvXxoBtjZ+8k4/onSUldnXHHMXR8TRHrBVx7WK/QsC5vXQCzY1KmqSClZWxgPom99p9frbtknEbuClxqCMmc4ZixB9Ov2eGGRYxD2qkKY0t/2/LLhCQrGdFVf3SfMWg9bU0jQhIged79WupLHlHH5emjvfm9kEmwO1ccTIu3+6LV00aq90yBwZTaqiC8/UBjzbssccr5ad45fi59IwY2KPv68HHaNmQLJObdKC3fwxZIh4l+EyMzznCQYIehPrQamw8JvzkWqypDJswPrgNq7qPVqi9A+8FkzGFJRyahsbEEBe+GmlCfRbs7XixKRutw5g7oXccuF8dXeZfrlLtNTSX7OyFlJmTqA/W3vSzIvddCMZ08oO02LMEqTBdCaYmvvp7mh5cbjo5+1hqJ8+wDdoYsE7u3XyV+cbw2uYTv0ANbHAlZRuAiqqj4RsoQvHmJ8xOM4NBuMUg3FSWEcElprW6buS3MNfGYLYwjQ3kDEwQ9Thj1Yp6ceiJ3srftHvHEN6TXFw+PXSPgEMegnQLxUHHK2Ow4vtAsJ28/ixorYw1FKjlCLvc0YzlVeeehG3++Y/q4n/stW0UlSMEpCmtfm2vzPJlW5CYyPbFTs7SbHK2SbiGgTNmYT5K9UP5n5gVSb2NISku+gePdng9Yrjk9Y97SfpG0pWcGIUu7urcPQUTffv5u3a/HNyaIMNuJbjc+8Eqc7bVn0MLwAtD68PIcWYLn+OmTYYUurg1/1W3z8uHTZyjjkossoZU/w/6Pji+Sht5xQRKJIsACMG0aClB5TVMkZ2Gm7tEseE9BEpkyc2N/xYqX76tZHcwGuwHOdSbnnGdvl6DH3RPZO/OH3uu7kh4lFvTYuCPVgma564MrHnPqYj/JUetnj/bYhFO11JtQUZ4GcLZB95CZis0QNpYFDYtyr0KrTU/DKCSOVrcm6M+HjB5JK8ZRcB0ciqP+ncs4Cv2yuqbk5vsqGi+/9YJnO4nJp6gobM1FavDBD2kvnPquJPFB6xHch2H7VpiJxgE1hsUfZQb+nCka2I8yt/MG9IDvGbREc1Iaymu+0Cyj9W5mKbOKJx+rLboNMmzt/UenxICIAoafqYzzvLDOyeC2TPogn4jVBDH+1pdGWUhAK5WHdu7KuemMj9XJqsS6cfcF8mt9pU4kdx8DxBn6kEfWUGFLu1XX6TF7iGQS+cfTkRqV7o3W01OxIYrsqMfyQdkWPsB0QNYMvOVGzEGuInaWwRIzid3Sqt78NVN1z06ROuRcq7CLBsdJvKsYTnEdg2Ayy+kPKVrG/q3sKvFr1SaU8sBows2unaGLvMJf/fKgOtH+ES4TEKsGRTbIom7jocf7udU4rrCIdCu6O6oDWTX5Zab22mB3F0jiveMFp/FTpZoAzCymmijAH3bBu9fDHo0bAF3VyOPtydd36SkuYPRYnOqpu7JCMHe2evDAlBUL68NX/L0++9iRCRsY6W9VBoykckK7wJK9wLEhOZhX1oHef2GyKOphcpEu4Ose4BiXtvgAvzpv2hF3/nGyLQaaE0lYDEGdiDmZM2UMM0VGR45mvUyDoNcXOS4WkD4Lh2ovKhVlRl9UT/6KPixpw/sr+oyl2jocRD+jnepD7gXwzB8XIjXL8Uy504k8e0JCl+hG+zsKoHwgDP6h1hdv/qbawcfc8PZhs12hpG2zQP1Y8MIqhr66xz3lB3O3wVqThOeDwD/KgiPbYavnhfNT5vf+5MjW6wOwbRBNTxVa/7oe1qGz+51YylRR7fpYQf6TREPVs/RvRoI5jUPO/AdnFXnF2KfcSeW0nLA48R8i9KURee75OHmPpurci9qfLr6MxyR/AmCc+9fNqxOKiOuh4OxsIk98qpZsAlWEGqANBYN/fylPtAz1yT7gmip5X2m1mo74VWOG7qRfhacATapqBDmrncCYoeNEoY8CT9m0p3mxPxiE8e+iDXBcTSxqNOjDvi01R7gLbeU53XsCiDncCydW/il0QaW5FJ69+MvX7N4YiPyQ3u1QN5fEsSpPKCCPJj4q8L6FbvyTi576mHUjy1neCKTFGbbevernDvEddPhEk3zl/bPswbBhIUIgvLpNRAmzAQ2u4rj9i/UY3VAFPOCgsj9qkF1z3k2t/wnK+/QbqxxxpqzVMCJGzBjMBs/EpfPmzaRJSocVvOXgcxnm+ybXdzstvNTq9saLjvZVDmbXUABdWRnLS0EkFvIaY/gwF16Ts2dxGNVKLmrBpJeRr4xuJCzC0jMYiQ0RRORTuw5EX+8HAkUS34QYuQ5nuhfCkuauJ8cuOU8g+QASK8pdWCOPVLP0vpEg+XycSulSgBAh0RsxUA/zP0tnky4uOVKLZCDWnRpDzWuKJOvxOiYQMoNZL/YImVgh3WzRevt3PR2SnkqolqChDNfqd6Zr7FbzskevXOMKq+71VBrw2YtdUeOu1Yjuhlk/792U2/ENzmktxk0Mz7hlgArtA12ygqO32kNYZHBPA8tNCTH6+HjVDuSpTK2s2GQgA+5bgBTpnM6Dkz45AaTAQNDpLPylOorGocQLTK+rd1FUVFiQTAP8rAJ7461mnx9hb9OoReSN7uwJlN6psxG/az6/wy9gNh87Mcq3BHeB9RM0904SMjsVT/Tzd4XT0wXbYk8kqwfnoYztgUCWCH7p4X6/6AEz5LjZhMDVzoOuWyOTl5S4UTklP8Av3af6QTYVYgFaDf2ZhKdbjKvqKVwEZ46+AtPQPbSeGG+bhWyv7/G+lXW4m8RXoOx/+BLLLBsjXPyWFC77x4ipmZqzhVdy8c+SSxqv5G5QjqXs78bpfHBLuPcgyTlyAmUWNlhWFRWjDd7N9XD8nZLQ7VDXIR/q23MD1d12vNX/3Lyfd+Zw3IBmdIU+w2scFwVoHfHCDMOovMhJVWCCPqMQIT5iBzUugKHFWapmCosyOvz3TK2zZJ/GIRE+QDPzl5yHmVDdcWM7GUNzJoTRj3FTugQVMAr0HvaoufVcmdsF+FzUTcYOQxQ7alCTi/TZbRqBHfsCJhI2UCVCdJeS56vHrXretx/8Mh3jlR7ErU1VRTnsv8IC0NOrrxmgO0ZjFF5xEwrfr3uWcHaosietWegKrmJwtCU4GxoAG3Hw4pyUgqbp/et8MPu/4jaL/oi8ET0VIdeM7IR6PvQART/cv5EU1NLJvp+2V1gFLfSo8We1uGhe36lcDljlEo+RiInOx8Whxw0DrmxibFHglJkhKCNEuzpaSoWwgc5QszTSFWeGJWGzYDSnlOPlTq5XNLRFql1008WlRAnLgDSbvSxiafSOW0UAjMPmRZrDGKBbeFuc50bV1Ivl18mR2qHVLx3jl47iyZDE1NTlKNXXkvNEEYQWdstzIZbSJR590sa0dxCPeCwbSMdk6aXj8WiGKbJt6lGGnTmtEE8BgQb3heErIQZKo0xNy/WYCG6VkNyb6Rc5fMaSDoejiFI2u2eancMP3jQVRTJxdfcaRRM7FdBxnZ/FulydLsGbGOSHLKNHZqu5B8UTQYm5WA0kHBUQyF2+5AG8t+My2ww/YTXcLN+d7c6I+S6ffhftTu1aM3341/bQCDN9uO6nOb8+SwCCMox/Uk5Do06klnK0UjwvVg8deqZgeJdE5JIQ2bmdt0K+XglbgH9LhHBKkrD0LU0zTEefbvThSX96fUysanRqTgE/u18iLT7xUv9wT7UTBW6gcJm0r9NBIQTYCS6Npgb299BSFOe23cd+n0u+QUydyGKj02poHNKgZxbkXcG3BMLkUCaVe01He3q3mDU5cDEO7W98ziZh4SibpKz06O0wQULsSgqqeGfPcibanj++ot0EUqjW5xebhMGEbLPlo+TcotQGoImgducLwo9R2gPP8s6IHxtd1xG5M7d/NFGOpDC6Sp4abj8Rx88tZKEeyPACojo3MPrqv7I70buXslDi6qG3j+rnnE7BekKSp//Wizoclpqu4QA6XkxYYCDsPMxr4ErZi1ogjl8GrZqOLDlJ2uCI5Sm0q0q589qqrMrGfTW4Z9sNLeTGR9zn9+T57AE4gPOnYhv53nMXgFpTdhCElcOnMCwVt8BAYVThm2PkFxyL6FRvCfS/Vvt5+Mul9HwlPE87euW1TQHekHUMSs+32/m1pBXn6N8vI0jq3TV8Cm3YLhHdQIu7ExDKv/eOgiNluO9582r6bfV7Nj9UlKY6Zq7zXz0qKQN7t1jJUr1HMvMUvJ2Nks8Ikxobb6U+oUM/kPOAnkELRcCzKv/959BfpWXAtLiOzKmiLy3PZt51voUxpMgfTJwaD/eci20Bd5vyGCNa4N0HwwEFkXi+k15DJ1Nruy7z1VfXw+fxN6Zm+8MIdZyYnZQNa4A/NwzTOoFkqT/w530kN+/bbBAkezMXKZvmEOu6rfaAz+OyQVhn8oWyhqOvOO6Sgd4IQgyVx6NILSoVi5aBctGWUBP515rEpk/5PGV3NPHiG08bnIjDmefVF2FY4qS/K9ZfQHQxWwMyLvAUDFF977CTdB/VcNgRKKwNlfkeFoHPb4kJDFv/33+HoDFeVE2UlwN+X2tFUC+8On7+z1uo0fjvSiUhaBeFFIR3Oyoh6roRH5VDGMpgixDOwRRlu5OCs/SEXZE9Pl4BIObNgnW+MV+w6FB6QdKxppgl0a3+NPwnQKXJHa4SV4nB7IYjgUEtrha9EqsoGbjfwVMCHiU3CPJkRCk9c7Ps1aJBJXYA/rQNi8p99kTrrIpOZeW63XUmnPT5px69ky/HkvcUNU5kMMRNwJ5EgStP/RKTKHrgDelleC6qU9ASUam5/XUUG0R1Pbw7K59+E7SMvZSu0ZkBkAnnUwr+wopsTei3Fk4PrHJHqOZyHHiNCjsdu4NgZzB46sgZNP0G8hofh35fhr8trA2v/AErt6cVf9Sf49jmViR4R7McKadLhnKNfXeSM3PQ+2LbAtLACJtEj2W9Hdii2wl5Itoa8lbAWW942Np4v+DwU5UNWRgMqexHd+p/coCrP0+frg3IMY6iQFatnf/PcVmUMssjI40B6vxuMqyxK9ToghDPaSUOKHK7uG74A+ZfQkjBCR2TLWT97fG1GUc+2sQH0/O19qmnoxXAXQcsrLTrQLLLoXP4IqJkazmIMA8NojhxK8NCNisnjLeCbrvJwW5sCv8rLIALQCgS2HHgfrbhTgqOJzFUYeMO2fxKhGF+NVVnoII4cKRxlWGY5Z8rfSt+P5dVRCK0ZVcX3vlOGP0qr+FA3WubRutLuvEKNheQr4H9JS3dIbL7hspzIX/ECVkyOw61d/MdKs7755HtggFzIFDOhjLaqpAVOlEDv39QdZi05GtKDctwmhsNog30av9+It9dVtt3w1+Rc9nXKPl87rgfO3AwzrE+U0edDJE93v6dTm3KXUfePLHA+dPgxjCB1xw3rnOWpKgxqD25io+BAHv9iV/EaOFI/Sfnkrpukp4a4PsIx6e10Rbbk3brPnDV8cW/xSGIiCbX00PrsXJgu92+/JwIOw0oAhRaKO5feXPfZv4qUVdUdCbZTmBWvZOsgmqG9oMzr/pGz4L6qxyTdaGz3IjRmot0KPOBYrjwla6jU/gPwX8xTFsgnXsyQjtNctsJXAOW2yqLLhwxw2am+bMQUzLvkWDeR7sbFlDXARq2M7kgh5lCckMhNwrrII2zTiwDpwj4dBVXDSgtAHPqx8HHtkoMIL0lwnrv4b6DpYCp44bZyc2BWHbJKWXsigi5OGrGHcxqEVC8qLpihbJHnsb35FEduyQwUlQCC27jsBitPJ76NT0JopB3exEwxN/kpIYHlJhxA3SushnhmjoTthSIjDf4LKkWPS9IJTVumftc5OgCiJVecWlRzBsXAYyK0BZ72C9RVRUIdRgZJw0C9QGkc3aX4OH6qmu2MVuJbbuu/Pz6VrHagck4hfSYjuauyuZFAOVjZuqhnOYYV64jA7blssGGdJLsNbD/Y7FGUemSrSTUPeOh/hve4YjyoaAoeFsyNIpy4GrSOyjkLaGCvnrrcdYmfjSeFk8YWLXFPYI+hGSFv4boOLuteRl2ebfZksZhR5eTUVgbYGr9y2abUzJO4lZyfRDWJYHFXEnZzn/ujLk0z/xKE7uFDNcDmjG7OFFtu/Kl6J55FOvPpePICtBEOaKXd60VXTFxQ/gxHdWTY7W+Q+IsU87MPug4tkx5tG5XkX2vie3nSwXxNjjrmmXL6x4/K3cbUlgyk6rDTd+gK9ujalI7LK8QYUVdmoKz2CbATmBVI/OzfclvgUpm8G6l3UqV9TSemDUUmswldORu0unEtk+abq6SVtoMy5m/l/svkXn6UtIOLb2pP4Sad53NXcVapXsfM3IxW7eytY5tAjpvoMoFW5oBgYkwMmckOIv6vuS2WUzR6eglN99QAWQKOmn8gvDX0wHxzdn0hNC50mwChXzFZzpKCbsumRMjAC6mGQHFZ1RsTA3THZwDyeAFDS6KMW1aCfMwPKfBhv4msNM22q6o4GjcYpDAHOuze5FDuiIVPm8zK3AELeEYVsUMLRMJNd++hfl6YDQMORvH1mWSuuGxfdlmzs81EFsS0I8DtCJ+dzg53vK2qGd/rld5NTWMTenmMrYJqciLEMjZVwTCRPHLNABNOnJLyFadQdsg4/MKS4TwMgpiJwjtmkNTXqF7Xam/kPJ6vBYZGQ93dMBAvju61F9VOaH5XEsduV5dP7oh0wR7FxqNYfRMFYjk/ZGXPVAdEPSVxtTVa+3Wp+mQcrB2doEwZvERR1z1XpwhQdRVAAm6IHXuVoWEiHrsDOywNuMsE47/EstBokIDfR7kf5qyHn1wNZNUEcA+OHCasqFdMUsITpC3qKFR+iVkI0cK/LOA6GX4rlpnxfDqy//Nr6xjuNqv6YEvBOJQODfqJp4DrLCA0ha9K0R0qyTnetcDWYok4B+rZj7Qsxr2UD67NjbLJMYy2jQhVZqkLAIBj1c54Fl43CEBwvwrhZqWel9EaBi+lufvgoV4z09iEeZ2jIOiHHf9GZxWov9Exi1Ihw5O6XbY/XI+JlF1MGHgwbeKytqyHDjG/OD99AiTZnvzFBxPGEi03m2RZ1theFHU8Fa4nnDltjyKFJixiH0nLGNG9457pYTxYs+8S5pUi8hs3Iu+mHjmumHF3rfDDIAmKdq3yhLbm6tCxvu6M8rlcLFiyRuph0F7/9EDIaH68br4+6JniHO8WKTQZN8ipH4reMPRrTSTEH5OvA87M7xAEzA41hiK1pv96yiC+mxCswUAGAvYjacd8YVShTeCVyDd7GxSM50L9AdmbSe55d8wZpyzxYq9FVd5rjlL4qa4mWXsHDFGqGekizcQfTWKvFrOgvxwOFJvFdq/Ll8dq1Gzta+1RchXkbWmdR5VKWvnCqzp7bKLCayfM0IrG4hyo/qEUW+UJgTrGQuiJ0iLTEQ==">
            <a:extLst>
              <a:ext uri="{FF2B5EF4-FFF2-40B4-BE49-F238E27FC236}">
                <a16:creationId xmlns:a16="http://schemas.microsoft.com/office/drawing/2014/main" id="{C1D189B6-AEAB-443A-B8A2-4F6F949166C5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5907024" y="1610507"/>
            <a:ext cx="2743200" cy="4878716"/>
          </a:xfrm>
          <a:prstGeom prst="rect">
            <a:avLst/>
          </a:prstGeom>
          <a:blipFill>
            <a:blip r:embed="rId1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59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Q30RXwdXtvkH0USJ3+j21vfjSjPiWLb10+vV+UlSM2rfV8+oXcmGu1Ko0hRXYA56GIM7tfukAZcnpn0TgIvb6hOMWgNgYzLSbE9D3ggm2qk0seidyjUYNZHD+l3kOEG/hEnCqgxT1SMByDo3uk1nWZyDGv4yqVWkd3dHERonKyPLJdKql8W80Dh5qrBoP0hOIz4LzVrDZ0XP9r5KnLIWsx/zCuCnZM2iSVRkrh2FEHN7WjQ25PsvtJbYdzYLH4hvIHeuoWgW4gfbZCkOTPq9jQtCa3fxl1jY8KQxyvlJ/ldcPWd2ZtYWzMlmfWdgDIYWBcJmJNfXjERQjZQJptgkilzimygIWghVbAyILqWL0q3fv5f7Bb7qX3ZJoLsSMICyPOtCHx/tbET01EbQjbLL661SeUYJ76Nv3gQzs1gSyTvDY/CvNzSCVXdQOZ50INgTQot2Zh+qcZn6vaj5AdskwyugqbkP1nn2NOFU7Iaml2CiQUGa6AJK6G8rIYt1NOaIQfYaFIV0G5WOGEvTZAPJQy968ZBuCvAsPMzmJhf0VPTO9vStO3LyiCIVQ59vz8cVkmKSfu9uVXkWRZQf0sE5BgAgN6jB/LkBL0zcUvjOowI8AhGRYR8zUdBTGVTuJGSWcqDyHFXyU9sEc8XtA7X4FFWoLnU2ltvWnvkbUl81ycWlnKRAjnoC+wFwdIWdwQBaBDwelsYBO1j5SEDKK3PDeHMaHz6h5TrGEiF9oKghKTtsatPYa7ua+cv/oIm4vEuHYj8B8PrkXRb+iiS8G+LHmeyf6HIGf3ZpQ2jfVdEOgH6VjwJT0ePaFL+b24/Le5yAHzUrvmNmBQYiM89CGV/00GSkj+xirKvlwQpfMTksO2989TrzXEFyvkqvzPZvb/hoLcgSrcnB/IKvHmsaVKx+7hT8NPRnQQX5JHx3Ibm+YSlx8/ksf1Im0T3wsyJ95d480bdxZJBPrub2pwdGV5Zzb6fugX0f2VotKJfKbRl+03LahtqChRWfrA7SAsDzTyM9qvYU2vp1tebH5YR9jFVI+UTpMv8fKYzg4PPTudfrUVlqMAWsIupmkgSKFw5pvxB2cDukcH/J4qjMXPZj0LaQeVYWZek5UnNn/N33I/VemJyldqNcV1b5Mbu1kl0yeVCpl9M+rad6ryO63Goh5ZPUNO0BA7gPNxofWiW1kUvHxLDZp2wdp7vvVYci9Ujzk6dN4TkRaqpXhE9h99KCCZFshbBgol6QMXeJXgXnmUG+Srg5/ZMYThywIsekxipqae17MWGimjcJmVy5abRl86QbRVF+SR1vZ8beGbVupsom5F/9LHluAiUvKRc2QrsDE+iBjqB78I5rcTEJRYluqbaWdagg2IQrWKo+uANdGhiJ89149Cj9FoP06yteN9+LodxVcQHJnUN6RDN43DXEsxvQxx6nk7pmv/DXab4kJDlfStUZcFJJTo5v5wMLKoVCsbB/pvr4fTcN/+WNmR76fcNsyoskBxZVPptRYsAfz//5UvmCetOBJYhOXx8IMvGzY31C8LILws1vKykrF2uMk2mtedxtSRMmgJqqoRamkMeZ1ii3KZ3Jt3TwoydjfuVyF7kocKLQhWBd67w171RKI3vPHLCMGgLjOwa7woPAKWgHIEM/0DXYdtPNGHkpgEv7xHMfSLar6Hw6eyADtBYnWT/9FmcbfJQEt+SjKVVE3lzLa9UUDZfRrraUTMrZYVIqj5MNOcVNOPPVDcXSaeE99mdOMosL2RybJFK8FYKdFSDc2PtwCl2CARdnKP6/tCZFcOWG4o6EIuson8Zs1j/e3RIzy3mbybgJVcztE3rafXtu+S7YWBcuBigViK5lH4nF5dl8AkHzwnGnLDWUf2hbySLk0JheXwlsRzetWQpog6xCTVff7y5erscIXHj7+sekyBNB3XhOHlI/JintFcVSApGF7QWl2h3UX8DEU7d+3BNu6v3S2ziehnIXbznLsQGGlrIwnnHAgLOiGl7pRb8T7Tcgg4C5Ms/ndOH6Sb0ZIAqYr3lRr2e45PreCexfsRKkrPudS7SVk2i/4FFmCLrdtIBYXkoNt+79y+HHHs6iTVmPP44G7BZcaGCo2ahfQuxdmZtM9fLB+ja0/oxzF97VsmNmeIA2DcF+6V4DA4B1+beJ8pF6JanKdUvzkP6du7xTXF+mFAgVD9mFjA8qvqshIPVSeXruRYU8yqwkDVrQZab5KfNkxCpW23YlQ28QUOV50Ml38bcYdJ6akgQ4XtysJteOaqDcJ2KXKOnFK/Xxi0k2FUCYoiDr17cPFxW+u5C0Mmob6abbhQrecEBZqHL2faorrLrvMp3nhw/qzcCLIBJiAErIH6ddnvOrunaP11LLv0xUhs8NeJHCRwUAZDdhsiu/38BNRJ5cBKkSbjN+WFOFJIq3Qja8tS/lvpoa7e4mJ2joMi3k6QuFuG5y4HU3+OuubVhHwD1yNtPtLp+JqrP7cqr8VKkZl3sob9JU5o0jJaJq9jfhoGRWdEaUE1MDByvTh50sSCriwedf30OlsMGgfPdQCUzKmZz1ahqbYGL6ayCYj39nMzDW9ZhbPKdgfuRdRazGMjUye1OUF89MRvNAjkRSqbVFe7SY34W+8k84ao5Sh5Zhk/l51pjLG1krq43Zk68xTqcMlP8oJYOsxInQfgptQ3/A48ZR2LX7j17K8XWfoy8QA2F5hyoZTy8uFriEMJwx+v4H8YESr0DJTELNjJUURxWrmOpUsAEW3pqoUWFk64kMpj/pzPV//F7i1vyEliJEF9eSu9h8nKIYvCTGcBpuiMVF56ME/4ZCaJdTq0Ri/ixrpj4WZDILDqiVWo8LdhDptFnm3QzvStO2coW2wGkN4vrvDYX78SvkkldX1DJss38BpVYcWPHqm9EN8FMvHEjvBIQWFZo0X0ykrIfu8QbBbHrfYcNEvtlq2HJGgNOhvOocYhkDG3NhpRDw8OuFzPvtyZMu1yVBGPZ/hH2yGPxEQXZKutCcJGj6GBRFvhgoDn0Vr2WOYyTY48CaP8oHTEXUPKVVBjCg3KtN2CBFzIaEUm+P50l7cem9jvQnKEy8suMjh6VS1r/Y06ywIXjtUjwp0/kUoZE00Tf4FYI2y+m54961y0AHsggxpR9uxYHfMMcuGXQIKoz4lAlvgXRVtSZWdOusweJ5orZdQxp2ygKEGYh1TSS9M7rI6BYIdr+LeqOngTkAwInMXUuIkLBpvvU/EKwqMc2dCdg0xiuIg3+jGE1zbbHvD76ZwHHrWn/RV8gkAaJ3w9kFTo3jauYFydHWv7/KbMaPONi3py7cODYKneuZ6mipZd/K3ZyipZW9/ZWid0WdUP5n0q4BeOf9WtxC6jBUD7SNWjhdXeHEe6gDxMcnp37Sp7VpjSYsUYJ4ALMITkM6Bi3YkuHZ+b4TcWmUwAyClEMN7B3NWrFQ4sBnAup2OkRS30eGYH9BdDCZXBGwA5QPIreAaIjvTZbsvFSI+eI4BM2FwH/m4cxwvWXqkqdi0fA4yIwNWwu8r2k1LNL02XFjQRKDBznCch0/clxpIFpE0xQrD4Bed04smVX79sARAHFBFtuLmxEwuQK6O0eGfkFcZUbVn/ID6eHrRvvYk1f9mxEoGzexNjsLEQhA1fr66QszSCxOt0soD+IVEAdUok0Bok9qVaLZmQgf0j/JzQqDI5j8XXMWD/I8dXWC5VkyMiMXSENkV5wdRxTEaKFNyVDVemFjUibWE+sMI+XOjp3sFUSTPrViIa4uCILdWEK1y4Xg1BgIWUBJSYgmYHD5Bc2HLAvQlH3B3Wto9bLQ2EuUffi52OV+l93+g6cQfEzAfgBWxSXU1fxbMpe5cHp285qvYkjhbz2ihGPJwO/ZPqwzvkdWp56t7aeHqNRQsR5giKMdg2gZYpbu9uw31B7hzO9qUvgd9SZmDnY1sPo/B09de9eIWQuzlxg0p2p0ELD/qvk5yE4FrhZZ/hND+PnsAbBhQwVwLCX/rj8gt8xCqNsA4qInBDzBNKqUS5AKnLqLpY+TGePwyqHITB1mpnIZ1T5QzOPo40iCnCM+IMYgJh5wqQfFYBkagRuOXNvGYNhsaM0Jb59u3UcvStKnAaqo0trmcJHBX7FUtQFY3STLdD4+bqHBIxD/h46GJTenYEyHBlstPrOKLQba825MMfq3XpBOEQ80+S8MDUZDk722UiU33+kjnpsEiDoBzvHdbzQN+C3iqjkfiOVs/+7knZGSDmqb2cBfA9OUjJ8NrQoq7eQJ6VibzKqf+olmUjApbvgaQb4d+4Kw3NUeIiGNajEExbFMSChQ0p8l9kYOERaKn49TXMYiK2SUlOzc904xSVYbeTuHSdWiDQhtcXwJDim49Tf64IQfS/E0NOEHzgmvd28103UtPvC3PpMoTwcaXIb7ZlC+G7lBi2rr427ooxzp+U2ambU7d0XguUADWfmk+mNwjfZzB+tsAKoU05h2FN6X2wCaq6/c82nJDrEqljytF4hsLHmGOY9oL7E7WwPliJclZQ1bPW+PpKT3wjY+M9uEwEnB5FUKFPnnM3Jccy/c66UBovaj2qrENtT+wV24guI+/9xq6ZpHCfD9CK+jfUnaLKrKeqpquXr2AEoSoo6l3IX6q4LdO0gDIHFSIu/bDN0El8y3VMfgyberpjGWaGWgaNUC4TPVkj5uQEOi/rSPr1f3q6m/3DIRqLWn4yTE8qzZhQbgTvar/dNDecZ0v7sMZ2xmr5rZeLNbGg3MkxwNmyGvxML0YYEyztNubuFdKW40nHjn36yf1L33z9cV0UNgsw/21xuN+lrxk7zdPzj/zPLjEy/ph6YcFzK59uaSojQqRDZji2KfGAs8kHqYmiHEEdK6llOIr10mJ/AGU+cFaO1zDXM5Mm5OIUTkKf7zorRYGDMr2hK0xGldKAXB6Itb7UiMQK87x0kGd3swk2AbEHsdcv9Jzgf4dshTrwQP2CeZObV32k3m7fGuWaTEhg8YIW7wjrWg3y2ODYa7KvrxXXh1Dfrhv6mHaxrXNJXkFdFPlsiEm5UKzGAvxsxCJlvFOaaCtft6bcIfGUCEBgTGdnz6j25pePBlIBq8ff5k6GMR/DDo6OHv0LRRGtwBHBrNWByB6kdelKyRWSoxJMnNsexTqMOzoWFCphYcczHxbEJw8vgnSaBzwBL2/0pNHprkoryycsU7wletOhPp5gCn3CEdeCxYSI7lDfBWsBMAjtU9NgxggdxXeuObpUet/uWAbdtxo/YmbFd8R96UoCbZIvZk8g8aQWa/oNyGW7I2Wa5FgCP9tIhO9F2hm5qxczbi0xx2XhPoae05pyMmqjiA/L3ZAeVXaxX68mHM2BaioY5el6eybzTk6PrTO879Y5W6wsqLTMV0+jLvT9hxpYMGvXB5GVzYQxgR/78EsfaU2wLwap8dHLmhI7ypcX4FYam0r9fjOELS+G0+GsRL2qOxWhaTokUgCmZXMZNYNs+NrqGWGGzXcwKaBSrgKBITP1V48TWMQlOqNazC9xfwQzE9q//CVH/d0OgrN0d3rEJddZsd1eA3eLNsV+MR2xcZN/ZBImPfpCFADMOwoOMAU/kmitr2Z9edIB8WiBFqRn1WHVExecMUfoWz3YJhDCG4dbi/No5FdfEvCI+03oQpVZS+hX/VlrJEb6F0B9cQB2rRK1ne+y1EuTl6Hkz7vkgi0INLNlIhonP4ZoIrWzZxJvSPOydQehFDa6CsvCjqWIJpHO7xCFRgaFAZfi0+SFEgkeLM1hOYGEp7v/tZLs3wwPEQfwmoEVhtXwRRkXOiqRBM3rFI586nUfsIeuCZhF2gb6HbfwsQCM9Fkw079HmqP4PXQlm7HAiE/qq4JqkrWWNt/aY0sLrGi2nz6A7DC1w4fXvY/c702zPUyaNmpkAx1G79/FnPAF7/W+HZD1SLXTXXKrCFiY8dYiOlpwJqNOa6JIkvNN/xwSfGcGYTSF48nOFlbkHvFtnDolVIAIbO7T6tAywh9M4jw5lAb0XT+MRb3Pu/dC1l1omh0SMb/NhgaFc/7/SA9CqVV5QgWLOnEe9sNdkbAd+s1U6kK+qyDS1O83xPQFpClHFBcoF3wFTC/CTOL0rxm3u7vpz4wPtAx+Zz34WuQSoUKXJs1befaT68jNwi8eBNdWaRFwi4iwegE8gtCTd5HzWnzNdCIx2u4B4ev5O3nqyQAhJmuJRfjiwRVQqGrlmP3IwPNxxnj5a2kYAUvnMUeEmqXSSD9rrvdKdLz/YEea8VqjhW72XjBBZXdqRYRaGfQK8Zuq4WJPQI0WYiYiI4EcxzxM69SBFT2h7l6bfLQripk+HMviPRYINOe8PzDJUeUBLS/Xh84oUfecjNfXphtgl1Kr02z62Xf14YHANzHY9q7EwS1N5Wz/mP0Bwyr9h50IFGtTJ3BkDO/QYMUZBULQwj2+sIV8BArHj1t1v5L5Q2IL3SDVQNJIE5X3miGCh3jZF+cYszvwLDXPIIwP4jULj6Nbw8C20SMwciC+jjH57XNp0xookKGyFtJbqcEEz//Y9xPZ9cRVAM7UMeA0rQCy4V/4V1VtXqAIr1qde7pqI/vLBaewijT4rPwRlsn9y5dQveZG9MPlHx0Af8+pjofav53GvB45fluo9+aEIsAp1INtpZzZ1eg0pu98WCg81q2fltEIg975T3TuwVubs2EVZfigg0XTdaGkvUTbcYqxSEeZ3Hh9Jn3f6uY13LBTrkzlOxxpktoidNqh9KxbFOEq0fdJvojfjdTDUgszzFic5/UBN3ZcMviqtVDe0OlV7B3jlV2NHekf1/SnaIsFa8C+jCgW4gXpcCH1tREFYhCsugEVxn64kY/3y/TzjOu2+9Mrj/KM3igjiIX11wtwAsYMgzvRKEYxwB4mIe+Jj5E7hbWpxssZ7phwZlhRmfprB2vnp6bmFc9MEFkzzhQEMx0SfEYtNKTQBnnnmZJmr2BvS4SD+8Kigtth39rHoT/SjEiszT7Sa1I2j451YkJwy5OnZR6ZkxE3iq3RYnOhqDjRPe2O5ZMeF4e94f5vRxmokHeuyWqSW30SRj7tj+wVs6wRy1sxP9D0SPzDR9108j9LrzogwMQmCrD0jCm+TrcqNpun+gjVRcBBoSlxhaFA/7OVGtofQwrc4cMO1ZFWo08WLY9gISzd2Xi1/jWxUTYHBXeiQJ5D1pK7krp4T1Wv2mR9KCdf0M+1LfJoo0Ss7L03rread8ghzsgFZ5oy1asu6Ca8o2SWXpXRlVYMMGObAj7Kfox+FFY8unhAybiw04YUnEqMQmv5DmIcwi8uU6Ax8LKf+BuVggLwCVeY9iaFbhNq68J4WrNncWdtCpZm+dxzf/AkryBw1nzFQTOss5iief6/8FhiO5ZHcKqJN44PRkNgaRh9XI/GWrcT2B0M2aA86ZYe1ptG35QWw6zjYqEO6vGoyRsdaEPrjpLwWLZzQvPjOzK+VMvW3IfHOnsppMskyM8KYrs3e5VTQ99dCMCLUaIbE70d0/OOGf/68cVC0oTCo6gwMziGhB66nn1C3fA6Zga4EWnW+XqR8k2QQQvoXDT9+6slJ4UTlNHXx+UvS4n3sjnMJwKr+SSPLA/yDG0K6XDGmR3uiPWYwpYBA2SyBItM3jLJmuWZj/EBq2BTUjurJcKjuIp80TBt2Ltv77N0uHyXrLHHDgcs3XmCLBJ8GAWWi1ka1OlHAAGHoyGpGnUAHijH2fKCewSR1NJsX2t+BjXeWW8ymrP5oLo52TZfvK8+ArChdrSHlxSo3bp5y/9e4uK9hrEUuKTbjmUUmVLhJ2Yel7NS0kgKmYH54jxwhiCq+og8DPALFZ6DByf2aI3w6wkiZInqStus9knkW6LMFIRoyKf1rNC3b3m7YPT/+xwNM2kDz3QlPOmxgoj8cUJBJNb6zsC98r3cQk7ovdCtLzPrI8PM6V4f+6VitwlxiluEzzVl4KnylJH8DhiHtudGuioc7IOosqEWDLRFGu7FGHzdV5Nr+FSju66TONkMoq5Eknfy+uOFPtsqclvIQcmdPWJosbH0bvXgPdfIM0GMImLyIYnikSXaXYaD/XnMIGqGvT/VJVju4Ecs8HfgZUNTcBDov6AH/LG/Em0DqGSHkmUU1JuUqdqIXhJ7hwfoaGIuAD8AAOS2pyGOPrdEjH9p/KDE+F6fDGLmp1ZHy54CTHD1eiR2cz6tYkDUwG5ny1RAnAWuF3BRpAoIFi4V2iwiwFGdWfDICErb/6IREfQ/moi3Wzg+zVN952lXXQRbrm4RkptkAK9AAmJ0T//YSpEKflitmtQM0Gz+z64W6bp4H6gEhlgMOIr9dOlLjfougv9XzYpHKfpMhPcCX+NegSImf58Ps8KGs2ueWIftuecGAUjP5aW4rqPgDQl68g/TqF1HD219ey7Q9MMAHc0On/kz0lyq4ZnZqVJrfHp4vDWk/AIgtjOVMPFksvLeDC6VDGSgvrNMQAiZK6mNtx9Ga74IDinXRfvV9iBa3BkfWEXrZdS52kAilHsTq6lFCYkdTTkCJ/Q/WaU7pddcN+5/sVeHhCHvvjCtE4BoJkSnoJUXM4oJXahpjRDZgovA5ydT2shDo6dFBKc7p1Yo/6SdbUnwWp3Kufw1AAXe+dfDZJK/LaJpXseJ8XLJHvAl2vCYmjKRWBm1gMVQ9JgqjfFvlSKAalAoJiLY7icOH9+Ur30AFQWIH5cWmb1b5eGvWKwT75UEsxyJtYMgveWZDC90QOiNIlRUl1+8EtZw7ut+UlOhShsOseEhwedCk50a6JGiWZw1mEhUhEPw0a5UFNDa0Q4kpMbcBivkOExOPpynpo6Mm6qF3eAy8tHmJADjVEboOFs04ZRtp3oMls4g7BDxPb0Wj1S3uCZw54z9GiOX2RfJLPNsHP23xlrUa0L7JIcLIuostnz6iZOU+eC0yQPRs0OwkZ9/Xj7fn5ZiW0TxaGEMXyXP37rlgYFO/FmgVRA8roY7xk903OTWVHsLj674APMMXvCarem7+n4WAbQft/6NpoWdiiQDOqPz/qqZ6p2N00rneIOsR/4khPogFAlMMNaVqutlFh4UMBJPZO/n+TJlArwVShlxTGaYCJjay7xzPSkSdwFaMuxZl+ZRB2/vDi5qBlxPoqXD7QbDm0lvL88PsjesIzjuOkvLbVTP0b6Jh7qBLkQdrXiE2bDKMVB+50v9JYpeCbX02Xfa1VC0TE3UghSM7AnDxXzrajxOTjJrwU3sgq4nRZbGqNnbmW0gJaU8omatGYhJekEJ4C0m/r2CONU1HznjESBZSxxi6Atg4apJgp5humP/S0FtatAmwjazurKM+oTqVHdKgJqPPO2MDnJTZdjb/yRKasCYga6oWRCb00yj/mDSC5c5WVvEI5jxMtIiXNkw7XHciCv4SWOjw14DCQ0Pwh+igULhUTlJp5fGWuuskXqC6lXGVhEwCWyeBTbVEJw7dfKNHeiKKtK+onP8cmYQZB6/QtR003yHP6E99FB2sztkJTtqwXfx9twxbtooip6DRnJeHEx6nuq6wCbHcbKnd9OwE5oDXYMQBJT5wx02hNl18WAQTIVdP7dHAlxJTwuA3GAgKhjAUvYK6ss7ovcSHRFa018Uwd3tNUYPAIolYakJG3aI48JP8jikQEChdebVyk2mOmzVs5TDeGdzt3oRKWR8+6X/71G/HI0wqprAr98al42ZimFEXJzQ32OlTFDO3+ypq6Y38No5VdMiDSiRTmlHe8s/qfQ+ZXUJkk2cHLz9/vOw/JHri0/Lna+Vj8SzApGAJcKnOFeJJdQj0Eg5QeOclRgCtNf7gDQDHJ/lSjnSOHVqUx08OzhSsy7MzLp+qScpcYqcOSUyIHKD6xy++zYrFBexCOtlIzEqOLYx44bfS6Gl/sRJAS28z6y/+YE40UYmiKYml1MDjPLSMUbrh2aezkrb7VTi+F08iIxrQhfzHTk6O/5dszwRQS89oNdgXeHl6hAzHTaWQVOr+X7sBvAUVX7Z43b9Hp3TnXZitoOe2AC03YkcP2X8B9tzbQ54KYTVNp9KfYLhaLkPpZYbQjl6gD49CuD/B5VtTOM1vnq9SuQaAmAhl4vKn+hnuwExgIEmDYdkbvN2HWaUxfRpVRzhB6PNXwIcK72f3K89RBlS2WEzkRHOY4nvNSiRXzkmv0AMUBbyjAv13R82mwpOOboAU0lz5fwxQfI/sLa3AzoEDPVfWeh0LTdCUBMwypgNnJELxtiVVgMYT05JHFq2TuuF7LzIcHJ3dCBCydVmO2CiuZgFT8cAdeppG3aLUu2QrwFqSMuDPoRMeMX1quMhlbL4CySLFgGRPCxNQ0u6sQ8cfauHWJs+GUwLTW5Coiolo4dLWDxwLNHNd/XcT/WTpQm8pxhtmK5xZAfOOOu+q8WNWLOLhiDywwv0SX+pIW4wI4ke+Y9SiH1D//LXWAMUZZgreM+8TgGUyg3aRLJLrtsldDGesM0bt9UO8D3auPxubib75uBzFntcV/nB/x2QZBuaoqNFNcSOGT2P1uiMRdP4k94DvE4Qn2oZKY0QdRiHgcR1cXRkJnxdB7mgnxOBMaLE473O/soh76N3bhvZpO5sx0qSNUhxq83sZOF0usr1Q5Lb1jOnC8x1ogxRGYe9kMeHP/dW5bfCZ9+6sESEZry3GOGT5lMT6JmDWjUvt9+OSu92XK+Lp+74gViILVMCuqCBDLAAHHXNA4r3/bLSPdCQSqGYIjDlPQvUKNyR+9rYXvjInd6WMWgywZa/pGgIZMvgPj5FrQL8QoAVfRJov6/WSBLXg23o3+sWYuAcvinRhaMUeGcdDcssy+xbzGtzoWQkxIZhEE37HcULA0bFKP6pz+ADrZ5hvaferAwLVzdHkvp7KM5hpwGlgWrZ0K/Wk7GmEDtGbKRDomq8SLYumk7L+Vil1K8ZDLJqcE+ggFlx9zpJCtcCKLtUStEPEFLrELdqRrfy6HZLKdDAHv4s4w9FFKJzObYO9bPKQXAT7EPLJkzTBqXzmoww4ewvcQSqE+XIFWNlCprb9pcBUVmDZg+dZFho4DRDpo1eIYcknNU5N+CVWKMf57L2E4kijj+k5X6zb/3jWMSpnUxq3Qj8fTv4jseLmleqi4fT5+adoLpnsuB67ykEMoORwsU0wON8laK9rGwbVJruGnZI0GozibqoXYd+A4zGuwPRzp5APzc5B4lJjPn9S9r/TUP9uFQ6DfKNmnYVc/DwfRPE11eEj4v+zBVesS6SRUQJ+/LyF8myglA7ufJzh3sEDssYXX9VDPWEzOKGrJdC4zZJVHP+7ReWIHo77ZcQCSQyzURIfqoQufeEvBaryfBsvCVWUpNnMnb2WeLB+KI3xFxuf5Pvjhbjl2Yu+O9dJots1Y18g1NflSND+bAwxt5hpIOdyOo0B/EQ+7PJdNdEH0Oafh7EuEGM0wr5ZkdbZUcnBCZrywXwEXqys7Gsd0hyI58HxO8nKczZjtAYRV5cz7KmqIsEl9BgwowuVKxNInIEvCTkBfNxuJJhkgbx789Csvr7ZtgmS2AXFvYLK7JiN+U8JqrKjbceWzJVppz7faCZ+Qz5wZoPSiBRy/SpXktU3NvUhYUGOUZJd/Td5cPzLFQqBF/4iJnBcFUeENe022IYHQXtZdabU1feVO0+kh1dIuV3OJSn3oiaeaJ1/w3Be4AE5cMjyhZ8KTBOEQCaq9PzdbbopPi2fuZx/L5WpVV0DKMzwKBGBzFAL4/k/lY2ZLrDvhE0PtZ3gwTw/bsXvqGXtpAEC+OSmOvpWRnsiZroAqkgbHK52RKIQW9LIK/51e2r7yMU1ZAs5lct7mpvYTJ5EreFFBjrQuIAte+qH+MrOk452bLA9wbirnhtTj4VvyOO5cC3l0ogy5IqTZKhg6l5qndNV3mejW+gO9mIdGNOMHwteqVuU7Ot3uf1/wQf3qAZiD+BOGabAvsstSThEqaG71kZE2I6IYyCsqcoU6mTJ12EE6bp3hAVQCu7JfFRo7CEU6udkglYbal9e+SbVDx4WusOMGDtWbaoa45fmF8kJ9V0uKM0zYaUpt2R8soXMGLfy1jUi3XBOIwJrAnaRi4/YRMTDujpfD3tIb0uMLL0SJ1BWJnZLR5eyj5icDUcy4sr1QV2dU2Y3ncT+qJJa+Xd4EqLXhYNIjAyU9NM9KTwSGmIxkwLUAbtYkE7yUNz100aHUnGAmaa0sNJ0r8pvvBKRA9IX1un+xOfxnnQJVKLcA2qndKpL/U5k+jkXaUUikhmYyl/6US3Y1y5hCFbYC57WWVajS/EmCeuJJlfwjBXs9IxTAoTFbQ75ZUrxnmm/YAnIUAybgWubNS8LnjCSZc13fLzHM5RaZELA5MA124NFFBC0+BtLX/aOawMEqaxKKHow/9jsCKBKbjcUEAKmFEBjKzsC5UT38gsohI5bWf+tPG6WVdsoochSEs/pqn/i9O/Hd2VlH7OxPDT/HrDPFzJ8GM0bCR0eVXLFwfcrplDlMMqzVwZ8+7vZfd1lZ5NwcCGCkfvZBuxs6yhxYYlqaYr/SvTY77ojxuQl2D1uryfz78hAT7CAULR8cRU6VN1sngmuni+/p0f7/7sK8Uj7nubUtulhpLpSrfW2LUlV/QNaG8eI6jlDmwhc8g/NxaGnEIN2VsgbwrdXKZT9wulnRB6WZbppfWiMZEOGg3mtoH/D0qwO0LcnMcnrVfgQMIAcy4aqnHXa7PdyruD/6MjkO9QjJPy8H5C7pb5AcwK+l0hd5+vdvJoGwfGIKH7GOG5V8+EsTDthRbx+An472xu4zjPVIfPxv2cV43Xgh/ShPbQDe+d3M3W8/+jNijSXzugJhm2CqpFd9jSaVR3Bk6UnpmViNsqp3R7JTQW+tF7Ga6jfk4+IqL5oBIjRPPYhcadsMr7g51c8LV4swMrzAP9ts/PtbbqRoOwhQUGti7ZcA4tSkk7/FT4V/dm27Ep8bXLF5x/8GtTgB2ZJzPHEeoNXczyozp4BDlygx3vJeL9Do54cggLjSsf3wLqcQUPM+hhg5o55W5IQ0E+7Qd71jKPwPU2nHh/Fzun15n8g0k908M+vKCORLqL9tijfi7BHHPVXWbOH6GQHZt2gAAk7k4EXoTfTtzKQ3JcgcR8JBJoMXmCdEmLCn3Wnl3qDj7SRo2sINV6Owr+PSEuY4NGF+fyoJWHFzgLRReYVyHf2JYOfZ8zuHOQ4FiBaAQ5AoOQZe1bEk7/zjKGNY4eLSX1OeTOsX/BBKGBuW4Rnw8W+7AuP2/mo+ePeF5LRlWLV9bflqL4r7e6E7huL/Jrg8s/S0YRPcrHPWx3yq7Vw+YcTyyZwaLpcsXYrfSRONZKjsE8Y/Cd8HS+yH/GB0a27kmtISgLtJNavEhSlPvLQDDlxdb2w/jotbiS6+qLcu5EYWqHfRaBFPq5CrJjz31yrKKAuN86XQdqKJW9Uyz1OKyu04XXLf/relMrc++OC/PAcAPqhfsX7NWsWd0O+59P7k3v7oo5HfguKbWF3UZVKCAU1hZsu2QW97ZznYG0EleZOPcRLCi/Me/TKYciFnL33ZXMR2+aOyQqeDmoh+cNmqQ5OaDOrcbWPd/y966mNJYL+fw6oIjPv9cWVr71Qx+Voh9zHzk4EGkTzCYEBMrpP/tYaooVWw9ECmh6VAFYl1rPBclo4tMgC48xyWRVzb4Vs6eXoMbtWpJjPliqzSxTgp69A4CPk9PJtjoMVKEvVghZ+nyM9qdYmZO0KLxbD58PBjASUf4lFBOxGom8DJd02IXyv0dEi9pa3ZbIe2IMwmCHckoN94SAAQG/dhz46TkKYNiE2JclJ32PRO7TkIwLfu+mk7weqSvCfZmcdy3IfIGeRByKT2C/KJrs9HGdNOIHtty0DbG/GqZUUL3uBoYutrSulrIEO05MHWwn7UyWrou5YdTtyzkmwBTLTg0qNbWJB3SfmXBYrN12jqJo5v+NE2e+LDLCRJWUjoGvZWmfXzJ1h3XnRix8woGnuqZus2TZB8Y4DQ7KwrGUixx7HJVhri25ZY3lSpyaVC81zxdg5Xf6C6M0E3e0GmKR4vI6CXopMMXXFJuZaYZLPI1+UkhZr/2DkWDmUHpCmyj5Fm7pbMyf4R5Suf6HtD5KwD3/4SmcDc9di+PoNFJSAiK6YRBKJaiAlxdoMPjYpz1oxIn6sBYWq15Dd4WriSzzkBFnuVSwGcEOSXyvMKIiLVA8ry+iiuHz+qE3A3F++KLKKlVheWo/KtM9NcEHGcG6yp5YTucTlH4rgTBDobisybCg6CqJj9cYOqcUKKOBigS//97FctVDP2j8BQgFFswb09XzQozPMLvNGfCyMZ75QqqOcDZ0+Sgw11Yhpfvc0hR5/f50vvrVsuct3oL6BKkxbVT22npLjG20FoXkwS2YGjxz1gcceaGe/xgsTZIru3xNjohzANozcysOMHrJRy6e7XSI4shRVKv51wfRMMmy2U8aVexW8HGaXw7EK61XB7o1THjp/YUPtBOPTrlfXGowAnBSv12gaPqFiISFjtYiN/pUIrgaxasDsANo8K9hHW3jTnYNvH6MQzr9TBosiGzAtNUGWRjHLEv2qmbajB8Qpb193Tj/CKN3BqhoBvMpqZ4Vqb/WtXXw5ahUbulTQwVAuF9gM5kDcaQr7Pvh57pEx6s9oFtn/wb4XNG+W063KE3I1dc8QQTTkV+79g1oBfFe3/HzTn2bFVjsxzaef+AZmAWPVu03xlxpKKswwB8R0HtV5kdNNS3ESNsmxVyTmPvapx7Z6MuHE+L7hWVqKza+HLZdzmZQMq7BkAEByHX5+2ZzSJtwjxJW9K0nau1CmU3ttB96DWGRB5uYnBp5khA0nn4m2fnmvtOHhzrKkLoTcYTUnImvLucfcaSMxs0LZ/vr9qZyjiPMsgZUdUm83z0LVXmZBiMW9WpKfonllCgXF8cjp3L29pcRJtApnY4zEyY1IIeYF+oKQx91xUkn9EBdJEM31Rf0oHGbgCq6HLXOI/crlORh/NL822atb5pdSbiUDbkUOTCoVcQgI3ZlB4Z48pkJ0F6vTTQ7nlPX2V1vUGiAHNygv1XnPo0YRDeJy5CAOeJWu+T9+LRmqMJw9v1LWUSCBCpvQBUCTmWYSYM6Pd3hBnr61V4aqhmu3su7AFFvff4Po3pWyKe9OF8wtzBxSDarwZH86Oyxx9BE9C+oYq+WVkUZA73/KAfZ8KrlAE43qEBEoRjNdhdDe0p1HTWyXn3Ey+VEwwVxy9t9ijRWZ7h+ljlJs9naonztjWa/+RVcXCftigIXuPQ+kY1Qmyrm83WNVlNNhRCTMHlca7MASnsO/R/VnasYkfHA7EVCDVX4OSNt95muh54dPfwUsl1ez+2A+xHHsAKJ3yo5ts5iOesbYkEp4KMdTRhYC1gGKyS3KUV6ZDadPtkWVAv9f1/BDB2AMRUlSZvVb3b40a5iQ6XcH3PW55r7NOc8TVn4NFHk6kfArRnMvYRMlYyD3k3wE4f4HTL57JOGNVDoB6NSQWxme4d/HUQU8YJVd8xnV82Fe3Hw9q/AlsJSzr0ZmKWWuKK7lLg+qBKUfBfAo8zgCI86qa+G+naYNGQcimxpJOYIYUFILe+P/cAjPoAnha/cxJ/TER9hnYyp0IjMOunzPbkG5j1+wBZd5nZlatxMJzmkvwKW/qcIQOcat5KnafEbvfIW5nEjQBKz4G2OZsU8aaP2q/lYiIWtvxSlBFqnAlKCYt9O9huT93ra7TTST2pO9FHRlnZYwXwCL3zyQqDa9xDqycOLlT8EQKbDsKr2t4qbnQIFbCpQySG8fuEK2dhKQiYE6UQgy2T0aZUppYGl4mgWuGNv6U4haNHLjEUTU+wpkiC2PqlCjjvhgHtuJLG+eDSepqIo3yNFxOuxz+6+qVt+RLRodWwO0Acc3VJAN19MyPDA/EztGduW9J0C+vSJvgUw1Yx7SEM2Zp4ieQRsM2WC8e954KyIs4ZjNXE3/GzVjOMl0emqvQB6TLDiP3YxkM6EHSIFqfhjMcQQLtXcxRJi+U39BZZQlPjvPpNqaNQeACOMb8pFyj1KRCH3mLGZQSCQ9LbavAhpUotCp38s9HKq93hTY09sKUii4cOY6q4vCli7f6o8l3vkgfCERhtHddXnUjI9Lb8sGZSIWYiPgVSAE0Q5UfBqi5AuhcmnoZ2pglxaCSWQaKb2A4AAwk1Lnv/TCIdQS2CTwgsholRysp+udxwL+9ipPdTVFnBhYmpzIlNCbKCN5DSGmw3wq7ef7Fz94yxVV/N4tDgmGRgBxAus4v1DRZL8BCjo10y2dNfoNlhK7tCfHpcIbzC9J77RoXY3AHK3VkYcuL8AgL4y0KfQJJvklOR2eVBVkIW/A9O0vfZ20Bxux+SLC2BObiEQeVqjkoujZW4Al1ntb45YBs+Bwndk/KvXss2DR64zwKpqK3mc18iYDYoYMZbHzqGBLlMv/4Jw/wcszc2JZAaA4mW9P1YwEogxwlovar2VrRkYo6l0o21ZfSN84MHJ4FAV1DHG/f9udUiky5pdNEZLWT5QGknf7lnyOyzG4QKuXjmITeZ+IuKGLh3AbdgCy9tA5t/xojrKCHZoDBIzn6DBjFxkVol2QWAtIx9qcwle5j+uA6ClBjWt/tSHw7HNm3HUD74U2/omnVFKjWh8SSzsbXa1JudJSAakHhQ5k4Is5Z12o3I1gEgiuqJArEav+STOLULImQfW/fDHoLcwdifPbBaTzI75Nvzjgin65oJJwwY3F5CN6ieu+QLeiS7fGuh3eVi9dBszXQUJopEKD7LV30GIv7bUmmswtMoj6ZugDN2CpgCR9EYmM/8SzVf/7DWaCwcEQeC3F+asnJ2/s6a6PlyLlbh6r7gBf0MLe4gCD1A0obBqax0/m5i+rgNml1aIgLxxcutR/hiKvjrSbl7DgI/smnSWzRVEIp/L4T89RsUAj3zrnJ+XhqQ10UTNiHdY+f2q6YAZRXYgfg/qgaZb67FXwnyy1nNL6L9847biRNlSFNTb5z5shYomFBoF3n37VX4tN5A54KTztb88R6sWTcjmRd9WSuFbl//1lzSa4HK5buA3I5C5+Xlp/SEwdS0cbFIVADWIXNN/3KBrRa+JKo1RmreN0zrmDjp5+W6DuvduAq31YPIT6XlYSfUc8s0Ow6y8dOl8phSpp6P51nAZsHxUEFPkvZYplG2Vnm/2Kyv1UgbTN6Bl42z7Vo7PvBYQiPhkFneSMS7eRadPVNHN2nMUJiqjDdt7onY3NH3k/ofSN5AL1jMOYReR+EOErKPdhb2qPzEFFcfkIU2R1XAfiO4hOeI22fVP/3+msgpkORZhenEANQbyrXHT29Ty5XWEeHIKKplB42EHo+IQWgId1sxmPmvUoMJ/p3ujCclW1wKGIcx5pSSK5B//BHqL9L8TNQI1yOxsHRtHPRul4Hxsnau7c8CJMP+2Ys3aZdVfws9wfauPnL/UBUBCzB2vUn4TU8y/so/qlZI8nr9qqmuRBKbEl1fveCWsaLswjA5H1+OLaB5esRr8S7qXwW6LL/KuLneqB3oGXeHFnbh/jUgcZrQV+WSuscJWZpVwg2yiY14TaXhRrraup8B145hirvfx63hPVFowXVxoeWIDWtdi4Xynl6uHoZyCZEJmNDzCFoB+V6ZBbRXcRGgOCrQf+Pq3GkuERmwEyv7X7FxoCmfUK3XWsS4eCjoV4iBvNXW9A2O7UVIFkWd9VmNw+mkOgWJH0H82onEuzxRfV/gApUu/iK8hX7zArNi25RwBsJ1B4GLz4oj3NILbx/ChRrXGdcrM1TaW+0LAAO4jgbU44wHcEoAaWUkn8oNh9r2zXU6tX/b416XREFpquOJFnD5LlOkvLwfMAvmlMMzka0Six28gnAHuHyW1aRPrNVVSWGg3hjXn92J3I7CF5C1+isIb/eEdZqWenTEm3nm/Xjk53pkue0BK2y6kIp4nbxK0LnQtRkxQlQwSCVl8Hc4BLDIa1eiIlGC8cQl7s2xTIrqQ8R0RgOXJUQK5OCMqcMC3w6soVLhPu/aF+Pqcwn3lBAOt7+8fR9XUDjW7DfLKe/CgLia2sxjXi6URiTbvOFACqs2DDRHTJAVLUTKWHEZ1NibM4cJJquWe/Xxg+JKPax98mFDCMkjplshlAc2koTZUUapcXwiHyaxxl0/ClZDdUwoFS8/bNP2Bkqs+o1SmcP7mNcNghd3N9MmjWc4AzrX0Hl0dMSFxyZmBWEURrlB0X95Pa/rNbBvDiskfJvr451q5hfmztGwpoQkRnFvNHvdJQ1h9SKUZ8oLfrAYA+L94PwQvAVdrFrirVUVSxB3Dqf+u9ZzmJALP0vQacBR1wWtp2IXDDjcb6AbqO5sKP0dLQpI/yK3QCccaxeMyCB3wHuKmDJ2pugvihgcjm4ol/c3WzpggSfpWeYwfLdgve0u8fZ+uK6aO+ZPDiTp3sbCZ8Jy77zsstE7NqZd7/1EONgq2Dvw3UEr7TRoYM9ddMlFVm8iGZbkt0UJsp8TrXgr3TUw/UoWAMEsIuKYMtHNfmj2zVsdo07YgItrFy6a3w0XrKmlej5k4qAvxYSpZ75cDVKP38Cx/sYLHTtrI5kctv0qwXRcNDqa1OcW+z/OXCe49XADd1n7UFDcIl25uKnLuLp/LzdDUrSBJqlFPJisk/5hpBfHOaKJHpkWKBM51YhCnAXCA+q990roPBbM3y8FqJf0NM3GyOIoXwUSV5+8u5Krd7VHqWndfQCfYVtD1g2Fca6LKcc3oIUmbHvaj011kQioDKuhfte3X/htg2kaZ35gWrdpRBjCin6c6cvcECU6YmU34QMHFsky4WobTECbALymyHecMLq3sdWHAiQ3hfHcVVsc6OBJn6Vhq0XRJYcqLoiIGW7wsIfRlSj+xfO5oocFOlZSgGZd8KSE06yzxbUPxd2dfOBuy9QkkasG1I1jRvMdXaphoUFxuLTKOoSs1D9c9Cnu7tyH9jtfynZTW/g+HO5JE5P7FLWYMgvawuJAPzq0WYnsCN+0MdW45B5zlnt53bX7+P0tVZRUWptGjZj8YH0HukMFMmZMKjQfryD0sQWnDdKST2nXal2+Jim6sYrFVXpCX/9VdXXm2c+fIh+Lj6Bwo7zHlPsOTrOTuGS1fNd8v1z6OguRsHmlNk5Z7K/lr3+ldcf2hPldtSQaByvsQzAkADLyldcUGhvWy4P+2BsqytHXOvhU83IoqYJgZBURd2ktPnzbRQy7B2Qi0E4os5fS/66jbrH3tpdmUaIDofEef3/1Q1skS4QtHkHtKgCz44py809az7/Ty8Y5Iy4LcKt6kwLoJzIc18zGxtoXq7Lqu6T9oaV1h2Rtb1+Fs+uIAG1t8euXJAS8Y4aTfOXn6XTyGyClAGoz2D8i83nqvHFJUxNUsRRUZxtALlzPOYYJZq9s9UAWU8C4v7hBRecsc/b0NjVMYbzlXlD8fRkeLB3c5WfeOeWM+vFytH7+WS83GGkWeoEjFMBwDrmOpHYnDHvJOUSb8dG2k+uHLC9S0C/Ca2b+8Ph616Mtii79EginvzRY084Z3F/4SiUra0ildkkYSF+k6SSNZVoMsHIoNSqazl6Py+1ye0BbvorXuVSwECPh0jQtdcnj1NxLK3lk0/HQ1EXzAtXsC0IsMYR0Rk03qF/7PMNxaXgtayaMpXE3IMMADpnCEj9jVflKxIiYMa00wx7dmU1TIxglu9s3O6JTQa8u+4M+iX7iCGua3B2rQHhBhQ3IW5dJa9ArncVXbPMelGwEAQlIqH23Fqc4uIRUD8BgKF4fjV0643hH2quKFq6PvcZxVspEJzlElorh5bIXbrBrkCkrYawVYBT3Sh1xMKZKv39/h2RuSjex2/TZUwQXxx5O1o47PTqPpQBEC7DaA0oHT9eX9HAl2rg4r7iwJ7FR7aXqP91Hga+mVfw18UxtIdz0EjhSa9zZHdx3PUjms9pyfpC8MlxEdnEg1QHmVlg0BdJAlfoSSA7Ac0IP5bOf/0oI7L6MVu5xs0YCLntQgKJw2shLQzUWaI5VrNpOLVfvArT0UuK7uwuHaxA6hbEl0lNZX67fSROUq/+c6meCKmwLZ2hWUdI7q46sTxDi7vAo2l1CCDq5zRbGu09aF1RiWrJ6nY9fP/AHRp7g7w9UFMRWtxLZq9tEHV1YPOdq5NbQ70mYhmfxliwzQrTmAfDyBLIa3nCBpMEcSxUl2AlJfaFu5r9MWlto2ZbW3wNJBJnzqR8VSD/EOL3CC1Y2fZD7hmd21/rhi3NuAWRgOoFJWMH4E8YrTdbr5Jzv5rbVabmA4dWLJYwpnSUHSpTfQkDpWc2Kp3ptxGXDet6vRvhPSHcj5Yj2Td/INKyAOUt12XlB0Pf6sJKPGORciQg452+0NyplYmUzidSwZG5zVrXeE0QUB7i4LO9d6Hz8lP4YDcYd189uwneZ7lpxfxA436VsjlkzRpNmzWFZD48Bhkue/Y3Oij4A3FTVQuMVDOvzX32daNoyHBUHsfLkLoI3dUiQJ1RxVvoV9KEv7DvOBnC68usaJWZa95sRA0ua+LmtSN2g1L/gF5TWkiO8IkQ5cl4sp/qyVvqy+R4H7oWFaEpauYPYchsl5geTECvkKkMZLbKrtFrNviHazNVqkXP9yVlVkqbpvEXd9/74QfY6+IYiC9ekJp49c6+RUNX3oyc+3GsJjdoK1r8T1RH98szAkILhTDkX94yMLyxJhsbmmEQdxnFFBHKuGEcoAI+AfWl3z8N6ge8RVW3nfDZbfKj8i9vafsNmKaR0tr+n3Ra5Gm+s1nw+3ke9wyqAgUGM/L9iteHVdloyxgFEHjrpeMqndeg0ATUvGL5LM+7dxXr5W+eZSBmHwM7UL+lN7f36ZQ5X/ZVj8NeNwckf+QXoKLTSkHTPCu9sRNxXSlGg1Q9j2RW8Z90LPI4wVX/EC12bo01nG4xnetNpLD3dHGvCriJ2WMcIvVB5fxhoDqQOFfIh+dqEkBs6P9aF8zhGgExeumt87ZCTSvtcJRh1ZGnw9aNAzu5lMLPMkeS6gTdl0yWMPIP4vyav1ubeVM1M2zK6NPD6vtlmY66ohRX9iW1d6ER9kWU037xWA2vSoP8dDzhLRkUGaY3jGdrhc9ZOtt/NRVsub9kqEJ/Ntz3KydbkPi9gVy/pk/SErhJqhFZUH+tETh0A+rCB0l2fdZJP2tbUJanAxfNhSShmCSf+iRtggJsUICqllSVQaIzYbM8oho6MpF2FQwAG7gTmtTywuqypfa5R90uLVgrEZHA+nx8mBqA9X1QTSrzHqO6oAip24w2ouIdxV+JrG/OmoavZk40NOfyCLwVZPgXmpqIQcx/OpogZuDyP27/ji9QFebAJx4S7EU6KDgbLZjujs38rxAmM/mnnGIa0f1WAqrQe2bgWVR7FVxEHXzVyP1jyiM/5ZHifcZNIPfD53XPqsh5EIRk5+UJVU37FioWHPMBa0GRnSn5ovaemGXJ0VVu7oQ9k2iTVzQXkq4EI8ExIrbHUFxc8CA+2nOl7TxF9ywoXjRt9N7szGL2KU4kRcrFg2MfZyEkJK9ryRMtIscgTfp5lfektwUz5EZMpDyBoJwUi8OngXWs82C9ozdS3U99juQ5ZKHfS0GjWUIQ/M8+1nfUc1bC5ETXm4q/Pqr571yMADVYHGbRpFflfYgJ+jAh58W0DnTxKRm0kNZFkWGas24diuoYYRFlujyXORFp3oXcKMLHxKqB2djDzDctoQV+QO6P/oQBjM4OfTeNkqRvzDiSKveArOsBQW8HuZBy1zJmP5wjeBAwj2WrBYQeQGNU2kLzhPrsYv6qLgAOA+MoUbpBW07bExWdnuX4v/RWlXM6iICsucffffm9GVsq/CaQqJZOy7Dw0IVCsAGGCC1Efiueoh4X0XEnK2k5RkGTaxHKPquZTNVBEldxbnSNmD6Xv9qn4/1YmCSzAwS+gvEa+iztKb6cmWkg7e3W3R2vJipjdkO7dY3uNeke9nczTIboXtbIAA/k8X6o8kUjAAFVmBvucyv9mPzGu8Y0fWVgdWlrbB0MvIcXZDPj7Nj6Z3nL63rlUPlv4gEwLxXFXVFzpw4aXZjU/ufKf/pSgfhdzAUIIMgZVYtkbyYOPDEpAEqsH93WwAz2IjpcTMdMkt+UbUjVL8EIizZQ7t5oQB4wtirmcJIoGcVDgTwBmc/36rzdQ/Q245PPoOmTdJra/B7k1dRZaasRVibbwdGBVyYaHIMW9tytC+XtyGGo0OaFY8dIiUrjTqwyQIRIqfBDLurFzVLLKftAFoDEtcAEQJJSCeQo689C3rvW8ANk5ZM3/0UPCcISiOXZtr61xKVICc99bFeRngKdTb4jRRSmeJT49QTOG9ta+fqEK4e5bKhEzKoWic5rLC5zLocFstD6fpwp96X5LU6YDFXitOGDmYfYv+cjny8RF3cLMVrPTZVvCbGPf0IXMiauZa7eydkwP5E1vrf6wXfIiS3xwoPSPhvwkvg48qV7VOgEtW96v8exh6p0fxbcBAD4M4uUZHhQxvSmwt71hAl6KGyQ1GusS/DCztQAA2UNsXMYa4fRWGiS0tz+EjtUayzekGcH2flrRurmBy7L0zM4q7yFB/j3Paz97M9gwvD2/7yiMXuAlbQMcZoJg/cMI4pM+XurC0LLl7oAcW1cKhLYHo4wuz8rb2WErbzLVjokHI/K5Aup/+Nv47qfAGQnsJShbKHM7otTsAjXtsSQD0NkY0CKKo6ASNPhJXJR+EofdRhh8w2I3mclkm0BVvgL0/BvRsgf6WimDfTbi/6sjcL3i/cv4rf0m3deOhP0fCvX1lwkWPtfzEC9N5NA8SxG508rF2d8fNv8aQz+C7dHpJPwKQs1A/y0PRsx5ziRMtjcM5QSWCkCqYCJITCMfCCYayDHouk4tcwn7OzSDDJHEnkVvNEE9IU0HPt30zJDnObrWBE761qHQlnraNZLvkZ1Tm/6u2cO3w9gmj7oLl+mha3K8aKLMPSgYv5FdT4bpWfr5u6klaoykJL4ZWEOT24iknrmDGzuWjj7qdrunaxIhTSacaXzhT8UD25gL0z3+eV9TSDsgsXrc48HDLO8a6Hc1yyK7jLzEL7WFWBMbtp4Axh2Nke5RNbOMkokqnyU9XXSL8mBNdLZ7IZL5VLt29+D3jYE4SZB2WHKb3QgEjVry49/4qyEDl4sCDQUY+KDGsLeHB7QmUmkVhD006mawDGcRVFmTl5ee7a8ucBb3jXi+OtwjT1J1pA/2kPsU5gppzTXsNLvmLy7wArcGFMrkgBfybP5UgNHAAA0W0UXiuYwdjIpGbj6vBLwIGZJjvzhDiW2x75JAk6va2l99LMVOkhp3ORoqsnWufrKGR3Zld1ewi08pjK278Ws9dd2WZsrhMEFmYdczxYvtFcdGqRGqBC0tuoIz1z4Y/NhHFSvxJyYZQLnrVghMvp/GCM9sIgtJqs3GbL5ar6KFmCRkmydnzx+zQGl+KpoQofxN9RfKLJLZ/qtnAJxjgfFcSv61mRF14YaMDVRg5eaCs/SAFv2hLnDxxRi+yd6TIdjNDdYSVGbps46B/JgEFmqgD2WDXFh48kBU+3VKYCLch+JJE5SfgaluLoYDxmciBNcK22NUDUTFS7Qi2Cn41z0zu0/fmkbYq9s40Z6mXdeAKWvWkDrOe4PmsA/2UtKxmPlEzxc7I13epCOE+9g/7kV8dFpzy+OUIdd645Wq8l66iD38ZCfrkQVBQ4dM09kUJgm6SeuCy5lZM/F7hSA1AjZ/NLOpTJ8p9Rb3MhYXCyC6GCQdZJBKOljjW3aLyGWZvbv9XHxmOGJ76R2zRkgHdq0PVp2HJCBll+M/ZCgjzqntU4CJFQkKesV7oJCYbunzPpeUkbSTSOrPUWhiRUIHPqp3TLtdOJbJPkJO9Y/mpYTift6Y6/CWk0IrDWZ02D2TxiUfEmeOntwgKUmA6mtrlzw9OGvrAALK/luz9433fpOT/2pLFO23ZP3tiULH9/VY+mp5HcSNCbUOkbELRGvwTD7fZ3ytLDDyqj43KpHHuBg7ihrSEOgxE2Jg45rSAW7cohEyAsh8OWWg8o8mDve+NIz5/iTbjlIONXK10rnv2pXXCWyn8lNIS7bU80qjXirwl7j0+VZhW4iv0IAQfo1dUZEMeiOrbeyE+6uetcwKfqsM3geFQIiDUvNbu0x8Qooa+kYuJ+Xck4oShcfe3b7Yb2lDgQ36XXbyyhjSsyn2k9hlN5Tbb3KcSYhdnHfdcTgzSvbTNQO7zGf5h1efUe6G7QJPW605asUrkAUd1KfNyrDpxlNOBK6JwcCcBy07eQlB9G12mRhIt7p8K1ajMBOvhgkA2tM1LHLm3waeDrluEoMaiaFi+3bOBU7HnPP6QKlsNuilaxwP1eiu7OxFnPyOe9pAQxP1kzxLA3UU2Lf59mysxsbnShkYz5LfqfKFaTAhr+JJorUxf+30PeE+5vLluMCAz00KxFOIdhkmPG4ZIepp+kTFyzHQwl3YVsXe49R8C9PYYDHtB/rvQL1yDAv5GdiC9fRcapWXfxCRAtzfh0JTw3qaA9tKaUiXjrHt8tvtubwUwSXSyKs/axb+8MYzRl5OsYpwvDZPTzbvzQBCLiSF6yqJfw6O6nY0GxGwtqFX9rTEub2EnaJuZ7XibmAHkZeRQwD2eT62WLnw/pst/WtVREQHR5CYxvnomhsj4XBmZzcz0WelpjbBZKUE4xpG7VF7FqU/YqoVUHV0oMOtbKjMp3NqMLGkZ0dm1R+86kYVahfT7QjkS8euLT54D1pVm0JeNU54TwnVKZoXFIaZG8lJ1WTA7d5EguBkX+E2hOsEngiYIRW8rM099I2NVQEQIk7ETFwQyvlbEkS1KM34ollo4U+2f0e6hXsfG2S9cAinub6+9EY+iGmQoZFluyI9+jMWkczoSezNDA7sen+BfeZMr5xlY05JBG4WimcHlnxzYcR33b93RznOGCA1wuepwHDB90JdF9mTarHxnah+hCKOFcjg6Qz3T4cay4mjqycIZpPdJ17+N6ycBeb41zLjj0bOgx6xNtnctCPTqXdgxfyKgxBGMwNSYV9xSpA3LcFmctrS5iWEj5YjIlIXPtopJQyaYIHucQI+i87VwI7eoNNjJg0kE64vGUyJzafod8qg31QgmE2xmm0gfTpGSaEn5JtE3w9LYYlVFg7tjbyUpcc9h8TKSXSfXFhKFtBW1bFsM+ie9adeijH/CkYoHjnLC4uQ6VpPkv4V4OS5BbEZUqt0QlBVdPEowU8CI0E2+4xkIvRWAPxwkHctLhKuZUDPmPgYpuPBc1NUWDH7qqY/gSFFaWuyjStz7aLLjWbeoPST1MAecA2q5IUK24YKdLBBNbgAjBMgB1fZ0eHmrjXQgCXzB7SAF65fQ6DvvTQam2gkaOzKYTNFZ6oCd0nH/3Fz13iEqvtILEvOB3MMBHufrqeK8NivW1MjgYFZqQck+bnQW8DJcnOZGfh9dLrfVgNor9vKNZqEP6+B1YKL9byWwSa+ATAoCK0oTi+Nl3SRI1M/EOfi6CXm4o1siWjweGnqgO7mTKDPS7JeaVD8TBdXLDhFj3vfhGMrMQ5gDyH9TeqkI9Nc+UeWd/272P6nAU40d4HNHExacPh2Qj5rM4u8fUajE6N6INCeGbhELF947UWU92yno1UMp+kSBT9BJFzCHy6aJ5/5lTHlD18eVyV72dDyNTFXmd0VdljgmCk0rchSbEBhSN4bM75h8tPhBDZUwZZSUx91sw2ymX/EmracXHRYdct1Lu8Y9fgiDETJ9tstX48wq2Y0Yxh3odutIBTD22VZmC8ld9JxPgLd9xulsY0Q73FezpsYLPtFZmcgcmNknq8Pnfzsu3MOouOwdAxZXiJHpRfuBe2Cio/8gk0JsoihpB7Cc7caXB7db4COVP9ZtkitLfl+4A5PynLodHJ/9cHZKfZ3/rGwj/QNQvRRJleuzk6m/kAaivQjU1xYtOG8NLS2q9g6g7pLoonc8uoadgQQbbXTZ4HGvVYqaqwX0Gw8biOOaFHIxiFuEubKVd6ShpHf0Fa9w/N9MmWPh83HHhZpDYZvJfyMkVs9TT9hcmV41QX9zC/88Jm4niZq5bAGucG0+K3Nk3g1tpkzp4x8jv75MDaEazU5wwzY8nbj8Hbq8yjE7Hkpn6dhHwlUS5lWSfkMRvGz1wUE76gUDASbcxF3UzhBKSNwfJVtvxPIZHJBHQapgwirUjNuEzUMMU24nbFqRe8S9s9gKwabOzel8XiM/gUFrFmeJe5UzoyKm4Lw6ObEzyn52ATopHi4/VyzFL6HXk4lib04QzieLZZgxA9oxXQIQuPa1xe6IhNICpzpihgGfBqABOzUy0vnWzPSJ5PYfORYb0MdCULHqkA3jOrMOy8Ia7NW6PXo8zAyByzqKywhibpxUMjAKuJLzC9JReA9N4G/M6HMTscZ1z3pF54zgysS693pqovZZsgr+U18B3t0KqUKBwWcQK3latuB5a0DWB6DkxAB1OGP6UMebrlLF4tnwDEYWzkDY4DElxEATVBxbX+jtC/bgeGcCTzgDsud37w88nK9BUjlQM5POZteUmoDr7M1m9xCNUcAW6d9sJqcph0PHGpvLFodPywyTqodbrzPRF7WBraTBjDjh+ahzY0ewlJPmw/OEWn9gshDjlrwLJFlkOTxNy1XRTyP20pEkAFFkYkPgjlrpx7TQaXTotQr0ZqWpB8KvGGzK+CSKrJiCOr6MTuf/xsKGksNIHyR+dxK2TGKRqq1v0H67aaGHbwHDhZkG5iXCNy10VK1yTfaJXx1OVm8Eps8h1FJiKENm4hwml6w2Ip6IjxEJ5VKZKnNHEMLIOi807WeW3jWcYQveDrCAZlSrLrdAdqWcob45mmEi6gX2WrdDv70O3kcp9Sm/rdg0i7ld0As8NalQzKsVzEVi+O6o25Byf1AOuNl4VCOSj4f2BwSzgYEJpk3La5FoZs7R1YZdI1AbAf6IiqdJNrVYnzmRTwY0d4EPx/P5olYhWcWYPLH1r90BOdb2DjG3SsJV8xxbDx3Ln5S+VwJEeGc2fhwEZtW8EbnFdX2F4QMAbyLN8uZL4ZUgV4GcchgDWu6hZuT0MJWTELcq+M0hWQPLIU7wXLqN2kJGaTIneidnmShXb4FOM+xBZV6SDbEevUwvrg21mQYO+sUOd5fyGRxY3n2Pp8taqkzxZpprztF7Dr2cx4oM1ye3Ick1nZtillusGKkR+L6zBZOvtlLHEkBn8CZZamYBvY0BohRD1X1zHzXTEulNuF3db3SkBLPwbq3e9N0GM1CE+Hpe7tBibG8w5vqHqhfKCvZKbmLItuX69CkA62rZMWuGkxE6xrFo0gSXGSGwsDwRDRcGR0EmiNMkIZTGdIorpLzrtV6LSqVbdWZJpE0oUQLWfcCTho6pfZ4O+U0l/QvfoMELvsgGwuRdCJRhVN0Ww+iNHxPtwPwBIgCreKWjTx4p9WoFCndtq5PovfoRbvcQ+9MzHwLs1Ul1VNdPJI84wCgitpTbqlusGKFqBoU7fHZ49ivFUpRDzMeYZuFwzXj3RICFFun8U6u3X5sQMA0oOhEGQP+u9srYSEgQsNQsriNbgZ6nFR8efD7HyZbwOo8o7/oFSXbzAbKg4KJYRSkuQr67GR7MEcaDaVX78Kwy6yX5I596b8vMjNNpPzHgNMxEoM2kfCaWM50b79kkc+ErXQvr1Zh+NGXwUIwkV5OWDmzXXkJqqxP7diFz07k2Q/t1td1bD4Hoyjzxsq4Sw5NGPY1NJkfzyNnH0cfuONF78GanCOvKFfCUXt4kSosLgky1RoRKMqBuv+L/C1rxLJFEKeHKHtn6m7d0NUaHHlpTZsizT0zmXzQ6umjLG4u3Ws/R+fYMURhywWPS3AQIp7KDu7AYqYJrbA3nEcYykz51QN9GQ4Tc5eHo/KI16LcLbWilPJIuk/PW9v/TBZCD/8PbnNYaqj15bszAmeaWWpLjFdWxCbpcwAQajtrXbtljJLpVHRlUlv45vZeq31FwCedylHu//6UtVpiYAmAFcXV/STSpuTvQjSoWP39bC4m5dpxclGZyOdQTHyA6Kz04q9jZ6XZ6lErkjoU1UFiBRHz8HVEZmlFhej7DsQPjh9nWqXZWmanRzXVlngohXWsNjMnNVdp86jscrpqx9YswQSi37Zvg2P0LQOx6+bNOn/MU0QG9DiZpg0H9jcvvykBuTHZGBPixy+jyl3LIBB3CT4ftubS4PkqIWgOZuicro/jL1r++w9A3dg5WXTKY6lYdK/l8jNX8Y28BML/WwDNRWTHDprVbQNcFca79iUSRuKTO/hbqgN94eyWlV3rgSfCgZao0d5kWYlIIy3ieupGEvChOpoIlvgB8dRqIqqRQxLY3otri6u1WqSLxL/VnKxtMCp5sXZ88dXSLZcJ68dPTV7HXJXiNR8BOUkyYBO2AIla6/cr+b0PloiXI3R3WWoV7xfXwXh+rCQMA3+9DWgkvlUM2eWTxEOYiRvn58GWSLoi8DN9aMgQotOpDgH7qXBWgY+MUNWFh6n5gfzrjs6RaOzN92I0pD1sT5OCfroq/dfiygkgjxQbFCyCGxuXQn/8WPN1kNGmIWlg+2zL1IRtr8fo0jyBHmww6t0tfz8rwnFOFoy04mxs6x27DNpTxkhjnwUDcBoShLuNTdSnXbZ2CBcnMC/u73ERSAyUD2KCVAxe+RzilHa42HTQCK9zYd9bTEFGBv0+8KxG/UL1qZ1kMqy1zq/Q+aUPp4wHbSHkBErehu5xghYp60C9ByAcuKCNmG7NyCTzxtmvnuzTLRNE6gkUQ74/gxY86tEPN/5DRxQQBsOO6R5kt4QXIdSfjCr3WmrWNKIPHY+nUYTbjbYhaDlH26lAA2pmd7O42wOFGK44RFztUglTwIfrg0D+xM04TwMfmAF69y5S1//6INeYASigdHyX0qFcvDLRCEnGsLfOsutbyl9g0NknCxgn08gE4e7v1wTBbTgQBMtBG5/1cdRcBiszmKo4ad+zOGJuaEIKSf37sKKpIj3YwFaRNgZjoMGK2JFeHJ/LpSjybviHLjXE3nmFmaB/a4g5xLCAPg17eeaceAegreJi94D9E0BYqv8j2iOqXcNUhrJ3B21YsbVDYIHJ6uNd2Zy7t3Bn+5d1j/4IV3MFUbK20jxrpyr5n+qBxkccE6WrjOgt8zTkK1Bm/UVJRc8dXi2ZzpHUTSCfjz4AZjAh/GXrD8HLIDY+syyXnpELH2g1rCf2CBRJ9lLfb5bRwCwtEO7457Xzace/r0VIpILxfjp7Ye2tyMcu6grBr0mr6/HK1+scvJmSZx3wGNo34f29Vu6yKm3aA5V/CsYLk8m1GFte87OF8bgSCN5pLTLu0l0PsL60IXq8Kk1FC2qcRC+AaXJN9tMZJIXAvFQj1uV31MovLkin4JAVTr0lP2Dc/geW62P7ML+6B0YdJjLLkvz7o5UVCKeX+vlOAfZ6ZMcvj+FO+gjxVW/kvA7vcNBDyl+Mokf8yUo4cOfRk9iNIcAs5dldy31gte4LOYOVj1zCufXvRGrtRJiJdq8fX/8yAy4LY+nZuxKJ/Kz6mLxwF0lM+mdYWjCld5j4s64QYLopfBa8XstrqCOUdt04i5PV5IAAv5ZEtxaKbvOG4FZXC+paHDoVxPPRmwWbrnpfT2YT8lGGWc1RPTAef0oX1Dv2uH/TENcrE3G0EM/FMe+LJ3RTz3ab5sV7E03WWAy6p+CbsCA6kSgpgMU3V0JVD884N5lT2RU0lScTgP+zu/5trfc1zKARj0RxKIKrTHOjB0AtnNs6E5/anPThW6GczeiaR3VY2F4FEI+c9EY7OWZ/CBDgXPyrvtB7G3PxiL6RCriRw+X1GtdNUFLE6pvXJFwLnq/LNDaJZhmCiHAyC7EgoN6a0pHemelEsQxDFDIHPP1MegUUPk6UpGO5joLCMmKQe2HGggFRsT70S8TMEiDG8Pj3joiMrcfpKg/Jsfm6nBwlOYntDgdCAAxayunV92/jxozUC+c89w89c5R3hL/djTaQKFLHTwxtZbB5WGPf6X2U8fTTUP11bh7tCyZH2T8k57Zs8R0tXICYEcBy5TmyniW/AktpvOi6jmE8WUimwVGs9n6QoQiHyvu6icfT0kvqtwCDnym998vMHzYFuPvw+Urg5u3bWO6mBpq5CqA62PGZSQ+wUdG0ZlZKOlpaGEDr/OOfeAmRAbqTNL9oiwJ39wDHZrNiBPfUKrkOBvAKHKD2V+0+C7L/HH2oe1UgZ1pxpZHYZ1uYhbJrFsptALInStwcoI01PmS/3reAuaCqkKqh1AW1eX0wmA9daaeXVxvTsVtPEAg0HSDHIX9bDDj174FCP50rTHcrLSBMuvyyiccC4jmdVqrXNUCUXZLthjKv0xW+pT2GQAypMjTbqbPvVEIImcV8CeyFCJmHNg5uUUIm20qTEP7JZqKwtFQYcnjfOtlXLby2CUYrS9q3sWme5T0QS8IIN740oHOmeNuA9Sb5VlWjynVrDRbmTcLOrvd5Z9v2j6roeWtPdg0NTIHkNQMQQ7nSwBG63eNVD0QqxWid4RVLAfAF8fHZV0QSvlZNHYNLc95b8sY+rtYqA+/o8sGyYhFpQAD62/wUzbR2qwVm2r8byEkh/da7/UxX18X3cdRlGTi/7MJA8ZQ3hpY51Fq20us4e7SaFVvUm5z3GlPInwFpEIU1RSxMPzCOKRhsKPYZlwYTFUoAdyVAboFhYOpoGO2KN8y45ADdHPrSlrPahhcI4ZCV6BMbz+6CI+W+g54f9J3paaPEMNXwjqf4eSx68fswLOPAwwpmuPMo5hqrLiJ8rXr4Do7F28jOngtn+gwoGx8/2XRaGggq5U6x4hoqZjGWJ+nwsiyKAyXyk5HXqcd3329Fp/GeL9644MmOCY2Ch2GYjNoKYsurQGjeAqA8vwKfHzF7/SDyiZMLrmCVnihjyi57ewpC5t3TFFsapTqMqqFKQQIalkPPPIpmiGbiFXhPgcFbtXStxKm9a92jps0Po6z145CwQCgvtpvrG+y4iYaO9JhwHvMUjKhaVJ6OzBpy26+pw6cNZ3D/iyv/j7lT9bzD2VPWbXh3yMSmJ4XAy0URiKGw1DUhFIp0WPeRIP5dttYSM0Ss8/5+RrvA9/PgjyHNEhCEk1Aw2kC2+xdzlTQBTUyn6hzKpowfHRBtg3QIKD7duml3K9huTXJa+wnJXh+Z9ydV98qcI3yKJVQVNSgyQcaFbw3TqJ0hwxO60CzsZcFst0C3YkkcxPyMkA5Gos1ylHvqO/iyCzlca/uc1dSjHhWL2Dn3flTIPhSEuIUf+IGjI98mYKnUGY3GjycAuH2YTQB3K2+Taw7An/zev9XzRkdMFW3R4zn73AvBbR0yQnywtO3NF6O9e9DC+JizabcYZ8YMN4IiRzylLRLX/9CId7/xnhSHz6ZYMGoR5qLWBKMqtSZRnl+0xo3Kf9xJHJy1UaSMfYkv9BXxoRww4WmimlEpL9RoTRiXi9uT1FYr5WVMsOHHKEdTknbcIIfJqikoIngZHFhFfR49EE0PcERSAMt9kGJ7G2qikpDX1fq+LZQ89fpi0J7rrK0glTM6iTo++fRcJo/1ESV+U2YukRi+XMqLdFHbFvDfsdxEeiPUjCiQYD+bgUv/WO6ET6QmfCOo3kquwVXyuFS1fnYh0YazSd2wm5dBaspp+MBFxSEoq3r8H01t65AQuSgcA9aPuZqtTdUpzx4AeramuyKhqgusieKNFo5kUvszJECyGMSzUnFMJQmtDvF5Mok6jDqmu8pNhfBZe3tBCVIEw57n3CrBANMnR1L1rngcdzXfGV8yT6vOXpSDFO3Dsv3ywBCs414lDPxfOUXAXbKQUGT3swKJ6We6ed29KWTPXC3B/MRNtfDAXAmTPHZhGlwYR9fIf1HbnWeYUoxNy6+qXedhS9MMfW4VgiwRC9vbHOFm5S4xNsgn4qEXtuzts506B8OSN/fCVdY2TXSGhp426bxK3dqU05TEYHDGfJBTDBmxbgJciBlXIsKekCP6GqUzlfoGPe7VUy6ZRcDntQBYN0WQaEtxTYL3uO6s3MvtMhYGnTuyQkk1whuEBV/MMI4CCLOSPNJ3nWj1CmpFVXE0MYsHXZaOdNcAmu/e4sYUP3Mmo+M38vPbuGcwHIlyKke+GKKjs5jPt4yZ/N4NvOPXJtq2RJAuo19t6gETcRQQJmJUf+lc5246MiTij760vhz4kiRtWGP3wltWM8XAhLcWBpDPlruBvB6ONtrgcAbW8PRI8om9k6Cn9sro0WKXMmB0raLEopnarsFWb2jAhmLGuw4Z3Up0JRxoACy3yaGjRyM4VZyiKAeNpIzh1CdRBFrLVNdew9KUDROUQustZkzMFnZ6r5Rk/FXqN+Yi532IPZQnjPlCfLUqd8yWpSArNDpXW4P36TSD/GTcjGO3llDIhbvYXlEtOgAsQd6Z4AMIwg6Dop86DLb4JGGgBtP55F4/8Kc88Mg8cSty3Wfk+F2sglv/b4uzRo6C21n5DH4gKmwdKK1ddBwHn4vp0AHbDMcf5H7GaxvMRUrhMbM/v0RNccmajzig5msJbYuMM/l0BQETD1D6eTXqYcmlisZx3GR53r1vjt0R4qFO2IwHNtDMKnvL+hY1z62X26CsBdQ+9/juqxvq4xKH97RNVtloJHcuI3OrJYBD0PqCicC3VLn8GKnJ8wt1oQrmm7Gq7x//bPSFuRXRTjB74pMdWA8hfvXND6FPH9yhOOWzlUE8G+zbtgTdCPkmmrWvsoIS04e9bgA7mGtLezeq3OH86p4Nyo98zAng6ZrDaMFPSc6kVo6tJ0bNRsDkMRwjRFdf10MkganzWMaG/szOwfp6JJRaEIi2uImr38mQGiRk4cV2fk8/fGlKmb3XnMO2yK8BJVSOfzstIfE86D455Av/sMAVY4ZiYfRmWZIHNptjMKRyZ8Eof1SJnNcYmEZUzwEzX1BeZFRv8HYcEh3BBx7PEgdjbSpwnl3Po6JTWRxXDpM7GvDqL4zNjCzT+Z7ti5Nea3XoVmljscExZMlq2wnvZPozIxGN9MkMkDgkzh8uLWSNeeoh6tjqL+3w++pe+5bK2R2Dlr7GqZ32XwhJP1U0tO9qupyfMmQvEAUK8FOg7hn649ZsM7TgRRcMziby+BGLGRfnNp30Wt/go79Q6+ApbMjs/NetxsyBRQ7KmUKfb70tAK4O2romvUb/aHEUQq1osZtb9bXgSOMt6WEcMFreM2SyGpzMVyObRoqvdzYYZbnAgKriciXiQZ1ydrWBoj6K8Zikv5JFXABPtF7+RsSj7ERV+x6XrJDFlVFqsPehk+SBKfrB/0gALNjCyj+P5E9LNXgYo12HslxJ3NwxjRfWx7NDSBiSsys2kdOxTaI6b2jLVk58yFYPwPfQ78xi/vIqz1BEVbmUt0jdq4KbNqBUXjnXk16d3q9UHvEz3TAyDIVRjEALwfW2bVNh1kFRQCugK3eZ9QTpsHsD9qbAssxY9g1YXk2z7IYQ54J75+flDW2kVEoqM2LhoCXHmtyxPfeg1C54ZgyBegipT4BuMxXVXGFMMJTwbltFoCCApKS6iGtmdnfjsL0KX7ZrwhPen6Tbja8bEQp9A/Jn6Rb3PzutTs4VFP+L2E+WewadEdo5sEtXzn9h9JJPz5vx999c579ySUDKTEybcqihiLH/a8MzH0p9By8V4nwKs9zNpRmbpTYkgkhHijqVi5c4plEzCnjok71Q3eXannkRChfdon6s7ErJHt4ioVwmwWhmVBQNCrH8dkvmjU3cqmNOJL6r6T9hYg2TU+mNDGAsttVNt6/iAwFUZibIbkCBhRUArj5kH/jXpqwACIa0phLMun2v3UWdHwA1nILB0YivFzHBp6OD0dxNzwDrhED0MTsTLL1sEwQLkVqfZfRUtaVEWicn/cDhB/sUCGxbEePf5x6i6p+kiS/lU0pkZE30TvWMq1Wms7zWOqNDHuvXCqQ0Vix1C65HYyZwxYjw+FgwGqHYfditHh0UzlnZNCuAQlJPHmc/AieyE8/YjhJ7j6OC1OqC5ZsAZxhMK5XbeKFvEkdVCdJePSyYjiO7GwBw6tnKWmgyG4qrtsull6QcnTRSuA732Gi71ZPQbgwogP0KuEx13fra/sceUiNHt3ApAUsWKT4WRGWWeGCjPlNxQB/AW+XSlfbV5+Y12UK1TVNn1CjnmOa27rGXGKDZhwICqTUHp5L2EnLimVIFMtkxKTCjuXITwVX3LIckhNrIeG6N8qouXW2b+wA0ApvonlyRxpQgpwA3ocXBZ5JFjv3iP+IVGkhxNVK32IbfIaSDPzWkoQhqpzgZO7tH70NY9lKioYZeU3rjr6Y3sCVmTL6igYg80gHlslsmIC9G8Pz7vq2/vEDzyxw53TzaQAPTmeUc8CgMS53tq7mo6Kjtedf4PktT7NGbU4ADINodsPn/jLzhNMkqkNkIVo8X7xsFb42omrumx2PPNDJAUS4QFMdYCyCIYrl8jw0bRGQlmU9IC5NDmA52Q9jFnaG4Y1oqxiZvGVM2UnHquxjegM8qkbiqIU4UfdAZrfK//19yhrH70E/4s06D+gpC1mPjvw/2+TXnkmmGgRtDug22zTaYUpnWjio3xfKi7YtOOzUrUXbmwEkSs0ixWR1ia6Fkqm3Kc00watMQ6Up0hnLTjblUWAUV7/bfFVb0dfCwlLfhY4i6afEP+AcehbFq5/LtE8UcHX2LK6ZLHaJkkqOe0VxhiZdSS45i+ePiiciqKpjIt/HwtS3ZQbTkHw/pmBPW1DA3WUhg7l7uRyiZxXGOxZvc08bSS8fhDEPPyjZXxJ8SOAyM6GyqEteV+GEODNDx0cdNa/XjPdPVyaliwBsBqqYlyoVEXDsI81m1VQEYPFbePOgnaipRejuLTFCMysH2XuwEA5YjXHxR+7w7T43ThjCJ7mAmbSk6DbNNVo7ujmNXAi6xiJplzA7tt5S8yCid41nm57LLTunaNWN+9Ku8++awLaOkw3t8G0/dmjOQ5VMlGYZTyMXVerzZXdGn14WMh3Y3ac02lAq4iYRx4puHsmUBIILzUWP3VigqwwR6gYRbkxUZX8pD2/G6U2BLcEcMfDAhDhPskFUSX/qP9G2xALxSzSoZepQ3CsvIezEVw1nm/lnacgAT3CpsPqhO9NpfnnbcF8lpFcYRYuGZ/8WPjU7bqFZR8Pxti/GroG9ob0tJcNxec9OXv20IBjvVQsIwNker5hsuqoDVEPBhFG1Sy65qld2AzDwQjhnHUWbPyg9GNUrU85iINENbl+ROZz4ZWHDPsZUsbTxJ1fDh7DKKIXBsoWWzhCKhj7HmGIFS7CMAhnRCqODhRvfYWg89HrmuLmkBwfJYGLXvo6On9+refgiIqIF6YAkIE19F+dxPJ2XzOe1LpDb0aEIzglaSDR7991vBwbHwH5hy32BltAwX0zG59V1JnXesbSoF837P8KQx9czJJ5s8/65CyMVy95+steMW7evJHQ79Bt+6xyoqrvGUds5UNxT0JVWUxQ663aNZHSd7OUtNIY2FGpueT0agrulFwm/pw9Kk3RnbTnjCQuqQyDGUvJdtlpPfG3/oTrMjkTX6TB1TGn7Zft4zqmoMMJw/2u5a1tpkzASDCFHAC4vm8K17peIqLuomkUNFtcI/7c1KtmL/09zWRfmTlCNpgWfMhpFzGo30CY/fKG4wLb9LCCIgpJ8O6Z2AKgxDptfc/ltsIaC6c+jWYuNI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Q30RXwdXtvkH0USJ3+j21vfjSjPiWLb10+vV+UlSM2rfV8+oXcmGu1Ko0hRXYA56GIM7tfukAZcnpn0TgIvb6hOMWgNgYzLSbE9D3ggm2qk0seidyjUYNZHD+l3kOEG/hEnCqgxT1SMByDo3uk1nWZyDGv4yqVWkd3dHERonKyPLJdKql8W80Dh5qrBoP0hOIz4LzVrDZ0XP9r5KnLIWsx/zCuCnZM2iSVRkrh2FEHN7WjQ25PsvtJbYdzYLH4hvIHeuoWgW4gfbZCkOTPq9jQtCa3fxl1jY8KQxyvlJ/ldcPWd2ZtYWzMlmfWdgDIYWBcJmJNfXjERQjZQJptgkilzimygIWghVbAyILqWL0q3fv5f7Bb7qX3ZJoLsSMICyPOtCHx/tbET01EbQjbLL6v3pinK7H1ymHMjDShVWeL7gUpcQ9m8V+dXer+y8fh2yNqScB/FXDJF1fb6nw/txv6cjg3c30TJP4REpbORjPgavCys/u3kCMz8LzF8zSHWL/CByYmDv1VUF94Ibt1QDIvt17m3i7/THtnB50kBVdrUz0yxd9fiqfLIW0R290/8yqI4SUzTGJDIJalJjOPjtngitijJNXAcLIsTp0BDW0pqumA+0oZEWnSCAugPFwn+6fB55Cgaq4baakL8WU69O24rQ1/gi4Ac8JR5J2igK2OQLFH1HVc3fvRGRVFudovyGWqMjsmA4j5xpKf+nZoU9o2RLla4bMZYUhoSXrdVoKZpwD2rKgYjhbhJaegQtoIup8bhoFUZd7zgAoP709udivvgS8sP0ePp4eWiNBkInJsqw44VBUouzWKbJIBH6z05fPCqlcV9HcJRJXfYveQqlniXHfq4Xy7iT1hhnMcO46+bZOGw/taZtOEhBXZHsnKzRK/VT7lbepIEc9QZXb4NCqjynA9P0yEl7lhTJ8LLhys8Mgf1u7UIn/Ijplo90hqor2iwtbvlTW6ZNer3IrfeIr9Y2/4J4ifVGqaDeU42PYKb7bc2nhb0Nx8l0psB21P+zgNpBTFPyl2JMoWKBl6JHY9/2GsXXesHm9XRstXsaL69JfjLDNZQ/nzM7rL1L61JtI4DSrY6o1LlydOe/LVtr5WWA8JhrNE2KjElpBIzVuxSWrb6peNdlGfBgLLxYNgzuVyMxcabfCsLtrvDkyWmWLWUp6OQhq3z7ulivS23WUOV0iiVVsRdjr0sHTrnl3n4nFenOm4unD+3gp796aHD5CbJL7kjI1oM+inVahHlo+c1MMfsjk1xW2FZYG6HfIQXa6efzIykEj8vWM8bmpSqDBXSmKypGkiug4PDSWBwpprmcFlNd6AQ/5BOQvonz5Oi7a5gGER7r5cyfrt10MbbfMLlmuwh0+kZwRdoVUHwcxEIG7nteFWd1YerfDucUwBB5jLEaiGbhqklPVnMPw7TBD7HvakYN92WyGEGytn+Sv/n5SGzzKqKq9udbczdLr9uCynaNHhKaT5G+Kh2Fb2eIO3+WJcBkYkm/L4rX2HDmXyIfrOnhgsI3A6IS28Pj+dbsVEBZeioBpx7bPPujALkWMk32aUW8yey5eXnoUxsPCeJYpQa5l0oy5bSaxUYhK07cuakRlOSqfLma+5SNC2YWuAiTiui9vaT5yWazeHjQtFVA13S1VmsvWRZu7XtbkzTdOaqeDHYtBYlWjNu0hnpXwYiz2wTzXVgCnvdz6GRPqHanEeDKpqRjDL6hXhXORfgPhFQJ0C7I3JhDeR/xYaxfFNpDleoklE/KkO05dapkFXWaZnuX6nCa4atrLZhY4+AJYMRwnCd6XAgoHl4gxv/eZLB1wug1D/yBbENCvMAJkejaLAxNOK8fKY0j3jA/4tlZHRHNi6lEWMQkOTK7XhBOTvDiZTvWziPjoW1c0w8uRxg6lkFolsxPl+664P8NkGGURN/wjrwTc9M21tDVTTcZAct5zQ+a28LCi64rt9AhCr1SGcNvHAH3UR1EdRzVBD9SV7hC+5iZRBJT5TF8hlioATluf6gsK9csQZlJd7R1iWtDvnm4YWyV8uCkbr+8NUIRhdfY4ufNHQQddgov4KQlNJoPOix8Epbd0Ic1QxWN8EM9Zi5ml917nhPNd51HGPLld0abWQzp8QJ78blCzsdClfWIf7dO2oxMD9mYXiR6lV1Mw1TmUfTAXrZNckCMn5Ejz1SD8qry5xMFTx4nLtGp+WCljzLnc7HgJhbK8Fp4AKfGmMQJNHanMRzFNcYQwX1Q3YINomK1wR4h6Uz+8d5gUnq3TAcpN2pr8hEwBqvKw8J3TCaLhfUSFMQ2npbienPq9cz3RsiGaBTgYTfxQheYkkqFDgXUcQdlSKtHwkNQp+lObKUwdaqG8dXITyusUACI+K+xblrEYPvIxEt4qEp8eI6jRZCZaGLJBX30edV1cRdyb+0wkuUmnG4rHh0tRRybhRSbR5B5/tWI39MhJXOTq2ceX3qYV9pi7x1zmO9SD/arWAyryzyOsBz+uDeFp+S5fumyM9+Wo5T4JNZPkeUdl10tky7SupF0OiomTm8BJ3aHAfZkrdjJ+cxmnKdIY8T+p4xKewndpSZxULH2oHBsdl1gLwjciU6fWKCWZZkF52jmyOCMyRgiXO5+BtJjUcU55w2XRsk60weBLc9EWJEvODie+E8G/CEkdold6QtJeSSbghPK/cvVpN6BnKRtE27DJzl25mmxubcUjv2QXMFGMEwAf4/L8VCwZ+rBowfTo23ofZknUyPhp+gdlxfFrQ8rOB0ozxSZr2z2uBd/K75KhVUaIVwfg6c1w4CAJqR2SJW9qDIU84oVwmPIbDX2SexBqyXbNNSDiOX+yd8GC6K1O5M6saOS3pAKvkudoXAFupZIk6CO79p15Fx+ZuID8vOxFF5asT0Q4iBKvNOQFPxJy9mHtGQ2yoyY5zEPBsoQo5xbnDvain9pzVOfSqdxVtVTIYNfxZ4V9/WqpIdIK57QO9aENpET6b0dyFM64kkRz/nx/aEOWHjqbRSnYkWE8HYrgcnOJiG1C+ej2JS41vpsRWw+aEXw2E1vPQd61L3uUuNeYcINiXaQw6t2whPL1IxmppaO0Vl0FLOSS1j7Kf/8hA+ovSvwotrXcttRPH0Jwt1lvm5gX9lNT2YXTSkCDrKK2rhkEEGLasd5zhN7U3Sy6M4SnHXFj5sxru/1HZqnjPa9aGNYRsAc2QJlDYPwLgLvHCJLdDf1ZMv8vNsnHrJb5HJajVxcisQ58rY7TxWo/ktASAbENh9ucKpg7dZ7wq2fmVtcZPlT81zIiB9abu96h0DAKzT9MTVQXdh5evq+8ZFhl4rRDBQlpzz5PyEgmuRUX8CdpIbkoukjbSGRz3bQ/hqPOIZhMlK85s6p/2sh93HXbuY+S0heba3SXZZHF9bFLwr9lHG2yAxjU6M7fLks6CxFr5j5B7IxZPC559fvFAYAC9ckRgngX314qXj/rfJC7EA13VJasp505tCycfafBaV3T1+UadYQ7n7HV9Ljowe+XgUooFc4gA6gkQezJ73mhAui06CWjdb0BsJ0Fo4zrWVnC5eWqMYU0+e4deit0P3jIVVUXSBmxGJpXAbjo8PgE6KcEIG5GcgWYkCiMnAOaA6D/TvOlbE6rF5rSur9lOuE3Mn1YYdUhBlnY4AzGMwb7bPqhXTv/M21MsnqgNHTeWgLVquDzZ6NthKhOdMc/Tadn0FQgP4AiAITXMDlG4BhajNNqnTtQPeJJ66YuB8O230G+6t7DlzH9pUemNYOZebAPIujp7wbC7iel2Gq4UXVCd39OHNiydhUfuN4bKJHevCFXrrPf6gYKtdLtiSll/vEvbRzrVwoTHaitf0NfSOxTaX/r2AhoExypW2gn0s/5MvKsg/xk8I3QXwWqlHlGIflEisClVUNsTSKe+IbsIobbIUsbdO/89/hCEKso0GW2VdSBA5Q3fnbJxhComxLYqSuazH/lOIyCTuKvw7qOawxVqLgsbGPzAuhGlAGaa8QlqM23LEqrMK1D7+8aliVF38V7tIGBYIpF9yKAMG1ZrwKSxWPB7LizRl6tmgapJ7w/y3XwfbZtt6sm9F2ai8z51pdRk5CdPNz7ZYqrZhg7Fva9ScEBDxAC8x+7cIWF/M97q423acBevE+8hoh4ZQlcC6VrXt6aEmVj11Lu2ZEZuwcsAdgFZP1JQ79PQp5y0xT6ViUr37u7ArjMTBP6Phhj+ECx4WG0LPYWEjv3CELMbxY4doRXU54dVp6OI0jWtpeKV1QE83dfW+sx279LEPOWF8n351yr5FFy8CcR+3GngAoACOZyG/4KXtBA3XGtP0cmZCQD5WNOzOOrqU8fmHyJjAH3UdlgJPheA6kI8npR/iIDr5oMCsNsje5Ke2qwKruN7aBCo+jRfHHwNsaUSFAFjRYRhLN6t7UlCqOxf9IfXym15YHBwnQFzPDiO/x+x0+GnWhrlcNRwAB7Aw+HzxF/Se6p7BKk9nfRRWDq7c28Mn7sJWgMNHWvqqH8eWVv3VOILeSLZdnr673EsStJs++PGvyJHg+a45dMkoMVwxsBk37Yxascvu/2pVIQSz1dxIOnCf+wlDfCJ1ZZCtKX9LxgcNBDZY6dfFx7WUrm9bcOn5SUmVm0UxohBYOIzW1J+Y8RNuJOR90CMZtFjTlA4iG6+ZLj03loJFv74N4Qxkyqto/wgkSP1nmbFeiGTslhq/7c7EKerUo3jw7kUP/8FoUEI7h/xxc+DVFEa/jfgjNu4FQlTOhg479umvRlRdhS5+h0I8KiYu8ZvruPebgAtp5itMJoE/souqPhbEpjSSwgmxvSc5GrCgQNPhfN656DCoC1ZfymhrMkXQ5mTL/Pe7VKAUEbF6emeRP2JzjAzbUciWX0/Z+zFxkv0Ja03xsEKQT8pC7B0+jm1Le+q5pS9S1W/lU78dQ7GTWJB4wJiTBmCVzUf4mSeJDTG7lqiEXuomdX4+NSJlMpYiClKnETjBUUnX31wnbFYFqsQ06Kli4BORWIcYSDNKHRQpB3KXy+UooIaDHZw8CxwQEVjwKikH7lfID2gJHGee6VDB77KFD4TfQbl2fFNRKAmlnjk9jSfA3r1BOuH9h+DKMpycHm1uirQg4Eztav2TgRytOfDvZmSQeJ8MANMG9L6vgOkZR9UhgwbJ2F8UCVxpl9ACdYfrPV9W7RdJiZJBtg73VZDJdmNgTscCR1chlUtAOSxKOjQeoviqmu74nr/7fse92dJwl3oi2BxvQIZgYn4jOrdFu34Ou+pmJIarHtjZjBwYVuMc7h1w4bKslsPNueS8STPV6UsRxwy2o0gOw4yO1fYvBvIbgwW00W9vHUx6veqYeVR+HeTvcQ2qXJ8sKc3/jUk7/Wn7Qyt1zGEK1fnHLz1eSzXzwEn4difEuKU2O1898kQP8VJOW41JR2mIkWanzkO0mB22hLapB1q+Ykj6MD6zUVJjWotxf8AyAa0CmG55dahIrgMm5z3xVId6oJJ/ViMI/HWxu+ET9Pcmpx8/dttounLkbs6+KN7pUJnF8qZnvbksuv/Y6h80HzeMzSvuZN+IcjGl5DSL7O3/lfKQO89qWpNwZzc1JCjmA6Qokmwxg/RE31kAGuP4bahgirNXZwSQh4KUl6ZHrmPKSOEhv1GXEhzUzmJWZEGt3QfxLNHbmvHBa4aMP6L3BQCl026iWJY+QusWeiyd1tuDIXag9SUsBuc3qgL+pC1kpYHuKZCD7KCJhNNJfmtuKTNpQfmMUwGL2Fg82fBgy4G45DLVzVvTYyysit/2K4AMbxauxDvBd8ElXu0w4+/L62NjK5jD3QYhXSoAAJo3oo5RpKNYVN9ajTqRQJ/PBxEif4vKmciCbL1gg9emtAAqAnLvlsrlN+1N5NUD9jXlN6o9qPGBza+qcbX59ixP47SziATIIZjKsb0M8OTSDqR0T1NF0EO4tPfnSZgxCBOiva75X3yaPgrjK5AN/XEZuSKOOIucjdPqhbnkzUjj+vTs05rZY91g4fzQmSMFZkYM5rp6mjHKHr+ITqWoPRlS5VMjIZwjtIhRQ5Stlja3YWnRd3qMzwEPUhwRlB3T8aLVeX8+lTUBhmNBgh8CfrQaveAuwlAUU12wf+rC5KMPTMfZXd06C2WGv04PqyIo2QZIVV1SSl5rNKW6IXEMe6zpVRrBB5SaOq6VBqkgRMA/76fJEIGhu0pDCcScMxd3ikV4Oo6QE303OZd9ZxIb5+Bdx2TL2mc8bnGGmEnn7pMrOuqvn2t03VW4Abl0RS71dBFO5xyJwjgMjPbHgHYT4f5II9ynGu/NNE2w7gORRaNzWJuh5JwlHYe9XvzJtuyiQJEujzQC+iWv8kgLF3q05U9NmbLw1UydDBOW87asy2iqNgyM6ng6olaZQRAm0Du0DKarkHyacP+UMb89Gh7BEI/jRJ6rocc2KigtDu4rQHYgg9KZZHd8iReWWSz00lMIUVQB2KL2gAi0oIjS1B72V0Z8U1gZjOoBsFtqxroOzAR84fF26CNvZ2Rd7XsrImw0n7s+AI7IbZ/zYppaSlU+Je7f4TW+EvpMAsuL5vQHotT7nhAPAQIGjKfsuWVU5T/T/AeSxd7pPdSLFKEcn6hpHJYx/1NTxLZjf620pddWCp5DKm2LaYX0+XygZ9kVlxeXk5gIVqbke/DpHsma15v9s/lbyu14NU/f1DbqLAIVN5BlQ9bsKljtCEqqybuW/CjbGLB866rt3fEEXAe6LxxWfgo+lcEsulAFqShv8/n00mxuU6TsZGLezoR/cIL6Ogbn3c54Zrd9GMtl+w9oi7/KtT+PUud1jnKu6mubFWPukqyLP5DjfokAf2uKw1g+LkmnEsALYznL8nQOoRFLudh+oEqIfUvZvfTaEqPcNzchy11ELshkvlmzDWQSdScgo/h4XRIek9RUSQze0qO5/KpCuiKT+ohCKB14x4dU8MODhinyxWQY5DPhCy7d6dGQkK9JmMkPtTFIZwOdpsV94/DTH5zrsEu5if/j3ajmTrJqOu60SmFDJCCV860ux7bQz+rsjwqJTTr7+Txw3rcD5ChQYmJuVEqgsQ1oo6m9PJcZ8MLkmSDnbzYbuaoBeACoz3fJA7GDKgSkJRUid8Whx78jifD00tra+lfUMsgZrSC91vKqLKBeI2cvBcasdt+v7/SKfYxO7ayzt0Xa8xAWCAsbNwYQ3zuyHWG2F0jF4EDHfszpk6ybnH73we3lHR+zKnxf4s6YduoybOKJ8ThC+k/eCuo2ISIM1bzOt4hSZrMZwkl5e0DsiMP5t0cuh0JZN4kUCn3HPm2BhCZ7k2otvoWNKiOHllBjkChOaVSy+io0pAaqv6C25WbuQ2ZB5jo8DzgcM4Ub0bLRbiTPYK6VetAbWtY9bornL/q+JhbLSG2sodD2hU5PHv8w/09i59Lo17L56VNJ7K0Y5XV0hI8b9nIFwKDF+Oz1t2pJ+h3e30MgA3app4cuI/viSU5VLYbpvLqWXYmaOexXN/Mavzjrg7Wf46R9ACLWjwS/b/N5JfJMpNkN7mIzsLCJwGae/drDaAjqvVLSQXYqyYNbqikMD8OJAQxhycS0Q6fyPDDQrI5Um5LSoJIJHImAKUXoJuSUkFoYYBQZDA5f40lVviMDZTPMm9Sih3wAhLkfdNkW12jDD+N1zQ3+en27JmCETKmAJ+h4cQd4U367JThrW/X/E0VZfuxHbKcWLuN3DHOOKDfe7+U98aOiYaBGoZL3IJrR3pHE2GujU+2rMs/WoaD8pq0oaskw0TpsPlqVTLAe39ZsyoDP0crC7/Zb8m8zQTjfGZ6VzxVSoNeesnVbNjQ61AAHY+Aia+r+0nfXdwY4tAUkb6A8k/WNSCrxY60/AY9XM3fN2nqlsW83j4LevNqTEgTYk677fX/gOC6OBFLZ8iugHSMZScY61gdErwML2Mj456obEJgep1vPnq81m2p7xsrZhjLNQ/HcQEakoWZKolEoni8O9MXYv5AFPTFsMVblmyEn9oqKfJE353s+QV/RTgskeTbQdrKQaJ6/Z2jDU+HFDTauKh0h8tqrnI0JuwYz49eQF9QneIyUkLUs1uVKSqNmcktRuE4B+RTWFZ1h5SDMZSvV5XXitLuRmjXJx2qbfmxF/lNm0bQX8dDa+l+OUwDESr4b/80Zws5FNGyTgX13KNJxBBydUgUlJdXUVrKz+0HNUi4kYQupo3N7cNC6iV5/8H1B1g+2vIq06ArTfz0r66cPE34sskCxnzWnbDDpdykbBf+Yh4QNRTripbQlDmZWBeTAufiPipDVSdQ9eMxEvw5cU4JGmITaJuhf1zPqpuY618QpF5mILf6R3VAIjafCKYQu4sAKC4YgftRyDFbXb3oKNsbt6+3de43xoD3PDFbGlWZrPfSwn1YPCcCN65LHbpdIOWnU+D/narOpWKmumjar7IJNW89P6/Qa2esdYRgCDzh2VfXiG0fMXub5dsVVvx+XrlJKobQn42mbWBCYZkp0lPPLhNOkrOmbK6c3mKdxlBnQWkSXi2JjS0syO9/C+gfh8FXpWGKqGt8zQDS7LbI1oBBOlwbhYSj62Lzoy4hO7cXDrrxEUTj0IMvF622JsNV2ko7s8PAUGsS3DMuBwIAe2qcHaIUwdh3GI5H49R0BpfuR/KBU1VgSjURFfOVpwCGaMCnKA6xNN412NOrtBDo1TgI7x/fTQj4b/rntPPSj+dlJY9SnfdCS7kqoicq9Qfs74VlIpze7mFfvycp6HowWjsN7RE56+FpAu/OCtqYpPbkBFAmSwIpe0p9U5AE7TrfIK/aeTAx2TOJAoSNBGECjg6Lco0mhkuYxjxHLtuQf3/x28gDhOKjXHWBx/tgAaY3f/IUfKAkZQBpzn+qlD/rQilUJZMMx9YzARxkvkEmQ4pdXlI1P35JOpRMCOI1Klo0ASLNRXBR2NjkCeHWpNTXNjvSRqyRyHDOh9lba6FuSh1yOMFx67pKWM1jr9QBKK+DhOnoyLyzhBQqC7f34QjhDsAvh38XUteZivigRfFkiJrBZlRAj6JeMK/0NM351ofdKdCyHZsGZfGdOMmepBU+WEFRa7MyyMYoH0RygiyKeJF50czRjvPKFBp72iIVduhpZ5AMsHXuOTqwcpAA7NI10zwn5ge3TSxdRd4FxCFCHNqLvqgpaoXZuyvyvaNjzqk7ng5sqyFEpV87/2hX3X2ScnJ9lDKkbvgInQuCBfBcCs7xdszzHFEqluWmICaFzLLfYOS6voHPUsjdNdAa7LQp+aqB2hMxCjtHP5lScAzHwZL4T7yD5QknDfvlw2Gx5j9Og+wnuzx3FrVa5roUlmecTSyfYbrQP88Y6GNxVNruSj9banjqym9qHkPVMkIlGAV5Gry7fgqwG7ckniDgotWjwlRDKCxJNzp5My26JJkCvzamZph9Ppb9vC8aPmyta+ywYa0hdBZ07NKFHhmjP0JvDYAO2WH8qwdr8BzGfNEBdjkwv+33J6gKX0WbXKqo0AP6aCL6LF8UKOvVkn0Acy5a0L+urbIeugkS/i9my0ElEdYNjyDOJxKiLKZK7/ad1hFipS7iJFCCF6t0XYIoYn24LwoETkle04gTpyaAo8+pyRV/SSIEQk51wbFhaxQN7GhhO94Ns7LSVZJd196wovAi6fuADlEpi9P1/5uc9vTB1oyoHJukUJiHpWmIIoYU4RmbbYmiXu8sgKKbv/RPI1aeSg+pp0YTaP6VbOVIYSYx86p6sspVSgojapaZUzHJYjGzB7FFPGjFzPSTYIcG1D27NqLNhPpFmrwTDQfCXvhSp8VFFUrYhsmVcSDr4f6BVI1feChGLOn+DNhIfy8QJgPHF8FueArzp87pqGiAoQRjMJ/Z9/10Cvl/DofCC1EVOPbrFjgrjAfTOSGDUwbuROhryXqG7iNuEELTWSnyMzInH1ZJHb2D7kqS7ocr/FmKr1JDh4Xsf+i6/84lpY1C07Y68tbqYAxjVZ1HM5fiwpD81Nv5g14KbDJ6eOYj3wxeTi2zLhSfi4Syv/eWMyXLDYf+KtX4wxLNIUkrxeckZXaIDWPtPXIf/zKYXWgYF4VsMEemTOk+NUO97RV8q9t8lwvvbJW52kvq7EE9SqvEDB+rZMMkb6pyAMMy8jtTc3WhpinYEwn+MA5Y8fH8kWNAHZL8heUnE6zg9iUnwefVvPiBKQB0nWcB4CN7pvCFBKPDcquJrsdEYIeYuFCTpQFpDmfxETpoVsXx2INfXGDRQWJtXUNW2Dj+hEzpg/4+a3Wg91lEsgDMHsMMFShliY2/XJ+WVGpz60Kpj1ZojDtilVH65f0ZZuKbMkcv65eaLLPxB2e5alxY/RszbDch59j/vzS2Kw96XI4E+iTc0e/jl223DXHvFPPOCcVUX98s12Nz/makOHr384O9ZLYwpxW/vdys5L57BDvxd83PMKPmSfs4mteEQtz7eJBO4NWO+9f93dokxic4Qrk/0JJHxMJVdGgixPEolplkGbdZvb79Pa5ALNMyGOGYlkJKSD3+ZkHs54mrVEGbpBkUoFsVOUXl7KGthDYCqhTqGoZCvbpTL+GzMCOd7Bklz4NSDRg5gK0UUebvrp2PXHRIw74t8GYOT7nPM644aTP4N2rLmLwtA8LLaNaBXJ9VAkJjHm2ZiZcYJ5sxnf21gm0w8LkxxMmo9XFVoX8r4A13mntYjGt8E/gYVVGYa39pwxzShkAC0WCOV4lKuU6TsCjjbzVf8FPjxv/LGJ4pD+n+RJpFXIiGQ+V8BdIstnurfrtdEOWiMKf1/XC237N1N8hud3jvinQyPI/Cn4S00b3eIgmiNYZt00gFddJT/AJXFL1JnyeU1Cx/UDnM0IUAdL02Bsae3HX91PnKx9wQVfGtA6xIzmIoETOIsbZu7a/Uct5IqXbYPCxHqE8AMoaMU7hAxiB5trfcICKsSGiCz0zYsURbe34AkNMhpdLzus0U9XsCY4VVbeo5XXxia05jLfmD2peUah6NjYbS7ESgXq2FZm5XU/9jHwMOfziMxYT5gxaHPC16vtEPceKHCqGnoYdWuPCkdJWRSlzC+VnNjwdXV/DVx8aDb8unhwk4HxsvIDoy3fig8/+IorddlORz0FgN3fefEICaJWwdgGXR0Bh7y9ALX8EPhtCmAkm+yj+zeXgrQdSMjoFqBLveLE+lbuRNvNraTx//cmclbBWWlULxEEGOyBbX5c60BXCLaPEPc13bD0AbXh+gN20DmY2AYDmDRo4k7zzLoV9AXD1A11cFSEvVBWot2KgxAotJ7AH2tHlR3ooQjHPGE//m2qa3sMmf2Bj83xe9kIgfUjTdyhmUzI+qZIpaYHQWBnMai3YhwkC2aU89vGA77iZIIm7pQIopVKQzML4aX9fEBjVvCqBi8C3wgZDnmOHXoUlT637wWzFvyyiyAA/+VLl4ImsdoLJW9TW2kbxdROA2w63eAZii6ler+5ENsC/2YnVPCoKJu8hpYD0ZCgF23P/5HDkshMSbc48RJcAzoTqzjSnyVffCJrlUH6J51eDNaOAa/4kg0GjS+YpdGOwOc89iO+pG5LVbxcE7dnDYyr1pnQdP5rIam2bgH6b7AnbhG+jeAkVdNRC72ssOzwkKOqy6LSxwZotmhSg1jLJaNprtjGqaLwPMgPVeT3IyRW+X2SExqbwDd55PwmZ2N21hTqenPmo2y0rb/cR12cCcmAFAJpAAstW3zDbEijdqmhxT5dcFZKh7Pi+XCk9tWZ2s4rOaq9grTdtOC2JC9CahfOZYCBI/R54WcNImRhux5xFUfLfTgdna8YgGLTeBx0epKNwA8N4L+aaVamQBRqhuAJM5ACeOnav6Y1hfa0ZnZoM7uaJWaB8LQMPAEPmFfwO65JzCLtygRwaeMbFYcoKnCBxf6a6gKrkd07H2bFZUR6+FhVqrntafY+DWCT+BqwwR5EsA1wPSUdy6XmUKLEGFi+H0IIdbRiZO00WDAA18vjc3mB5PEV9qGwWYamEGc60WvkLL69y0P54K/wAt7+0iFSVuA/PyupNQ1Ql+KVISHT7F1re/9bBVMFrAwTLqaVvkkk+JMo8nuow82yIfddH7FHXhFF9sfB8JjoCaJrKEirqw8Egi7l07ErpaS6TGRWq/gwm9uwjvou8/AbGGgHOrRFZJ2GNHfpMuRj4DacZe+RreW3d3eGXkx+Fr3CMFRjX4zbZa8cVr0lsBb4lyK3c4lM6Q7BMNTubZeXJ6Mhtu54jXmpd7rkQzxRdeieDL7/ApqXXH1e8Xdaz2+F1R9uW6c631MPNXJtn9BPwS+Z1bjlcJeSbVgkVea2MMKjJRLDuSZpSx8D+N9gOD7WXEjeNojB+fJGuN2bah9agha76XUKrb3uWO+LBigd3qqbi6sluNzlk7rRMeKQk5hjELxurWFJ6Hp1E7RR+CPmPNbdrY+vuq8ipGCW02+X9Ih7JVP8euCUaNSUkTtL1Pl2dWABAUo2n2vDhfnCCZnFClSdsHdf+aQzYQ6QVamsfsB2llGTLpPCR0Vo9NklSZWurByaTAnOuEJp1mHm/4oD/3NyXPCbohnl+Yc6PbghHRFcVqYbs9rOZiu/AmKmP7/OVSOB47FZBKfd8nw4DMltU+mzrn2ENliX7bM97xpznarSiyP+RqM3grFAvVKPtTs266st0TMkFnHzP7gnv0NLS0yhkRqNEl6U6nzH5j5GotHApeR5aY/U4FklaiFUDB8p3uIsPqvTYigNOK0BxC/7iU209wA3bYwctjQd1qU7jpW97AMtVGZobzRF84oivmFBQ43l4Z6YwpHJmSvTB1Wd7d98II3WvaUZk+1wVkD0oCv8+cYLk4NqyCOtwM1hLoYFMxrN+JtoHh7VdumEoeP+tdAD1ZVeQIrOxgOXP/DCOr549So/OKG68TjxLPaiXHpOJZ5rnDCCo01HL62DNy1AUt+b9UykAJP3A1DpdkgfTR84x5kzcNP4J1VbMHqWSL/6Iv42FYeIogMRa1WdX7tFrsAeKWrisHDRfvtHB7Aqb5tVsDpBmaIDtWGVYaJGBkmoJlIuFgbqVPZuooL0hZQKhT/aJrr5scFOFoFVBUVmTUsj+wY/IyEKDqCQBBL3BaTH7hZmYF7zwWJUdpka/mo1fXOB1mpYdZCGZ6Vmfxm3n3U+xhyTl6YqolgQTn/P7rb7wlmjkjSF/kUPLd6wYjfzxjQd3iuT3saq9FRpTa4fZGDmvlsTTNRgLco+RbfnOCox4Q7QiV71WVzxrkUs9j2A8+eiKL53wsC2PRESa8bQ4GrONMPsV8I9FQaSx7sWzcm5/sCXOb4udId2aRZYoS00tFzmBAqHhqASUv1hZMBxbJdlxFbJkky08uDGOh/aAwK1fWNsNk+JzMeegBY6kZjGFxhZy0Kx/v+BMxMND64stO5a3vwqP6jmOpkTCVStgbBLRBgp7UpiVnJZy1knSSQUMieRHpkPiqyWfwfSGWCaWAOtg3T22W97VzdmxCurEs1SDV4ZwTSA42rGnFckhzN3GnrCrCBc71wX+cV9nqPqLscMYWCbi565k97MqwHoPFpviub1XuBhh/dpWUCGp0YJWsIbfv5DnpU/JYQ53l1bG+09GHyYQn7/WCHcZOMSIJhbxD7ZZSSMCGd3mABrsZu9C0FcSKZrpJjWqYN6Wr1piGogMZfvNK3M/7AuClMA6+o0HpeAEE9JPBTGOSkqtREEVA2T2muerLeMyvZ18o0BAVkOxFXB3O+18hUPuzfkzlDM2jkw78TwVDqdMWn5PZ2gYipWq6jaP3XGnsC5QEWyMvtp8ZDS4tqrOgqKgqFX6qfOfcpssQvxkBsIrmzJYMEaP+F8+KbfIn7eFIKSxIoiWFGnxfPwBqZQ862PiyFzgt2Jj9zK7kCq2OqHpxlKcLTkQ9xtPBFFhqYoVI7ysc/S2UqtKyJZcIB/0ceiu18LxGhAPpMOQX19q880Z0lnVJtfEZW1ufTtMtQTsqJETgIyQBi6UJc0wc5DEsjVy/ubF7KdaSMDf/k3WHpCn/EcCp5TmXlcJx7cu/36VRkBVBKIO7DR2c74KAdLXPs5iT8izdmKE/2H1ziegHtmiP/PLupS5UuedUhz96n+8XhoJd6TjPB6N8/v+0rJjBoXCQ8CSzHg+c5mg6w23MldA+Fd0NJffJ8eY7AjjwdTp88rLsVyMe2vynd6WA38IbfLyBEugXKmaO9OLijNnpQv8yuopCeszx8fbdrZfjysFHJ7TY1RpmfbogIBCE1R4EWviEsmi+y0GRCMsEypbsphIJS6ncqnmK3r3k6jyz3AiC9htm4TZyPO3LUfMSYOpBRTKlBTLgmp0EqiVbrbOc4ZYeem6HX5/uufpF62S/DNas56Myp1v8/phksYOvrZzcBebzN2ACf1hLcPfumdZNShBFCMgb6K0q+rktFNvvPapm6vzC5OUXeyoqzNnpvdjVmybdvhIFjTN5kPbtx5GI02R6Yg3udK1IlnCnFuW7dCa+s1NR/00wAX+FqmjybNAGiD1wZcneW1hd3Pk9T7qXnDQb1FbUKVlPjgVrMSyZJ5rHCAMpl2uTnXjSSDfNFOy2sT7ctL3ztMO52FW4yD458efildonAEbJjSm3AU41FyA8q5zAgVJvqOvsmLjkt0JLc4g89QEW0oSj83yzUAZoqYfYJaJ+tYdkZwpWpTUGXew8BEbq/CB1u6owluthMRWLrCDovx8eAZYLx/ZVxquaEnlw9MUa/YcVpq5NHg/26KD+3tSU/SQvOZFfhgKSAU1rr9s5skTaAwowC3yfm2zUeQXb7r9ybHLdKXiKsYmfIywIqd1AOsA9df3tkkIRWW5c/mqGwJuyEY+/wKJoC79P5AsPXjOQyfaTK/qtSgP8qQtuoaeEaHdHOPABxKJR+roMqVfPh0TQpMjsOn26L1x0CQ3gcELh4Tb3AQT8ZvaxIw4DOOFRf/5pTRH6sIPufyk9xripTYBChjL/UgS+fb0pQv3QlII9fgJWW4qJGhGCcFnK6jPgbELy/6XKvrY+sKgIRzr62NaoSnLcPVDaQjtDfJj2FaBjFITWWG9rlG0TSz6xz4LFxcCyjYOy1Kmf3NM4CLR/y7kNSG/vV0umZtO5/8zn3X8amYjL/QPp5ul4xGPmyo6azlcNCOj+GZ1nGsBFjA+u0gNCudho2mKuUseX/6RHPTBL8lkgBHWpniEdSOGAoxEjxsLp8FL8KJ2lJkg0QZbywA4BgDVb4EGyuczkBHTFCeYSHw2ZeXs0FO07NyqZQIQDFccDBN7M4pzxGVapg0kcF9Als05hWMxSGaFvF+7ZwkHUQLN3ggeMKxpmkoLmi7ZkCzKvq4GnmecJ3cY9dMwMktvRGgClQvo1kZMhlxxYbwr8LaA9CL7m1m/Gzly4aXI2K21jlWHqDat4GT41umPe82Er9tj0LSOhOht2SCNkcM+kC7nlMaO4ltnbkZhahuVa5sjKy+dMCt23/gFNPZxxAZCik3cuyDKZwE30jT6UBILJ9R6JKt0JMPCevEFek7/i7POMBY7M8cCjfvt4ekOm4fbgY6UNetdQIZW53P6zl8vugS/WRz5AuRExMLQRh59bIoXD5YpVDqYDVpGVcYYS3wdBKWoNExai02l/QxfpbvIn3FdgrA/rXtVVesuMVNZhOxfhbdH3yLmyUICq1O6KsGlxsytiqx7bRnH6e0EAe+syZKSgwlvmxJS/nWyxTj0ocqX9w8XDFs1romF5Mc8K9VXgb1AT2Nx1nmT6w4XlaN47S7IiWCLkhUbang7H2s1BEdam8LZgIybmHOrvEgtyAD49pwyFX/ieGy+XTRBS9rVQdRp6eVMG5/4yc1wLZq282LVVM5/RZn7HO8WnjrnWgEe+eZjc0ae3k0VNo+vA2pJobN25DGjuP0Hcp9HSbDWGqAUM8j27Qq5BjJuNY4BCS1p7SsBrsctaBabXQCVK0m8roN46wVcfEVTz6r9g7/hNoi7l5SJ2ojTFKg/iVr7UuxO5QtiEhMpaX/iyTKwvfa6o0wlz3FZlILArLaubQBuntU7fnt29k182xE0Y5vA4cUJuD7JHIHuUiY6+MgGgRkBfrnFtASVbmJFpacje17Ro3JJGjWqzWIQVxHi25MWRs51xfU8KvIEQXkZXYFlPYM1hfqzuTK4DLZlBSk9bWP3xtt8yLFgxCd5d9zdse4X5d+2kltNoKMnmLpCMu1PE+LFWbLFFZcA/M4GcGh5g265torNp7M9S10x5GgHH8m/A5sQZkuXkzYAvkMoYm2O/k5BxnWPM9K5JhfpVi7ceFNVKvpswzKV4IJWr+5unkDlzOm3eQfpjuG9NrsumMs8bWHKGgAAR+ZklfXBzAFnGXnAKLLq6JMgNximBrGzIcj8a5tH2RRhCGN5+qpapJPuSxsu8v46y/xO2b2gPF3Onk4+GgluVo6NXZ/Ot5rx1QyS933hDs/cSyEonXl8sXIuKcja2x09VqmTcS5yEywLAUgSbixjKafku5T9eNshiZ7SwUbRJz/lUc4nTAsSNCbIWtX5yrN6cHZmDuP8NznAiLjpCep9EZtTL0e8foZAlkTe7ktjjNJuSx2WBQ1xG6zi3Pr62h+6rDyiszXSHyOdwtTQRtjxbAx/1w+23MO2QjbATSqUVhrsVkgOu2U+jIfUPOiZ0dFP5l60vy22/yHEaC4mLO8YI2P8kzhzd0UvPaIACHoj1v293AqKfvIcgJ0qesGxmVkn0jfOU32m60ryFaxEQ2eCfLeHJ2dw8G63XcxpEMSYSULTxtuKnw+/qtlKaxxe0Zi49fcKEHFDL1/1uGxe0K7rj6AqMSCwpxgEvtL4/C6VoVyDqL0gmtSf4ZwAbEKKrvff5zQhIBhtxlCLn3qDNyvyBI7kcdASN68nw6EsMacws9r3RRkYQ5KYT4wSxgc6+s//cFw8XiP4DP3v30YdPfeEcxYAwSBAOmfW0X9dv1YFXs5ein1970jZceGjvFaVOLoqljmJwC0XIrYaIf1+b2zeImjORS+JwR2nbB5uzLU+LEVimtNV1sI6qj7bkugHopQJrcvHtFYNzfUuRHTKE2OEx5U0+aSofmGyDx/O526aT/76jUK4fj/RFDCUBHdPgs/Znc8CUTxSnIq2runinlKlxKIlXoPEqmKMKcj4vBZkV4aTRK0xsdUcN13QhkgVvYVMyrms9ew0thwHtNepL+I0vshDlzTAxORADrz10PSblAC2yNvOwBgPi+lJBRJZcq9QdWaRvPrv9TQh3d4kEqkX1GhtLnWwgxiCa4b9r/KlHeahbhA0Z9+0EqHtet6xYvpvL5+p0nW9hJqH8XOp8oSZ/Ds1TFbU4a7EPE7Im6NzvebiSeKHeIKb0BD7A4maXGuPlsdPTM0F2ZK5UycoHdqVg/eqw5wCGVWKiIP+uBHWo+alRc4+dkGs9n/YShHEeMPTpEhGdbK1L0qq2GyOrVlhcGTbpzvUP5DRfm5O0sYmzvZTLSK/YVrIsYIydedJ+Hm8MKLi3lT+nvwfCZJ5l1gmvsj7LMqUaWx0OVd6MMaxRyweEvz0YzdhNESocB5mOezy3uGeLi7Tgt8ytwdcDt9RAtlYiJol2zms7n4bn0kPdvYFMibqiaKtUwy890adnB9Xo97t3a4Rc8CB7p+JRT5RWBHEI+HSTXdeGqc9NlUjgi3oXa7OJjO1Vs2RnuVyPDJPi7cYv/4jaEHxdn+VpHu6gpT9SNFjIaLOMiipVtYKAu9HsSP1On75OZMklRDq8ctqrsQwI5hrnhIm2vyFOMIoupxsCtcADBBiYz+46Q1V2WSaTCewWo1YG4uLxfSoUuLBzMJECjHHgBT8hfAu91nKxIk3STcBazkqNjyyb44KH3z99i3qwMojXOj0ZMMZNxeibslfxLsDDYon88pR3MRz3T0ANGt9XlEfzfKmzk4GY4HYDyj1pJf+Nq1ohaCV7Be31nHpvYe0kdJ561aiofBbrgMX/Q/BJoKE3tujiL6dDvNDN2bZshdGxFHganGZUJdc2mEryvr29ezoN3prvxqyV3ierb6OOcTreNyYAh0YrlRIpNQ2QNR87I4tZIgc04xqCO1eLtQe6cb7sjlxA9TpgG6FEWisfxwb442tqVdjG4d6HYpMAlx8SoaO9lXJQHfU+65RP8GyTwu74zlngYNHQidkmzNGAFqBFJZHuSGsQKDUx0BRdHhThB/hPxHJJGilr9D4EzA5+IrtuLneuGrjqH0+mjVi9BjFYgCVMBTy2HnXcwGZYBEdQ9Z0E0/nf8xzz5Gq58uKVWqCRDYKFO8OyTD81bg5kOInEOxAqbPsHxjR5fhvfrJ7QKlM2/POt5rnN51up6xd1J8iVyqcKUoA3fsKvAC4o99v6ISVQISjeaujuKwGAB4Uy9ILgPRuXgv7CyY9eG5hdUm+MggHd7tDpSJ5+SVqxCDEKyO/QCwD1s0l1GVaAxwiM3pXU3bCp4oWVj7QRM5dFhYxS9jn9FOmBHOiJwzAnvbGRS9Q1Pb8a1l4oJsnZ9IJAcnrlXChlqjUdwSkh1JE3GZJfAPwKJZS7cBo3uaAewNUGSIf+F3oGfa8uqGvDfgfZDppe98Mtf6Wo6Xoyr2rGpw1LONL6DghWqHUSd0PYsah2Mn74Y/fywjbpitacVcvDwaOL5Hn9PnjrA/1D2ra1BmoaM+uf3ilWH2W5wtCLm4dATVJZ1jR8GIWUEs9iS2Fumz3Gy5/pyzI7F2M0l3CaRvCA83p/f3yxH07i047t8/HhKrTpBat6jSdGRSLcquj9xhH+hJVoZZDr8uxEGqEoHyZVxkYJN26n1YU5XsktigYQeQVDkRwZqj12ihsCk4Re6bfiP1rvuXSg+fz8hddEmQg+NPh1Cp3R131M25dTQnu9tFxDCcywmqfGKIfyBNCwFL+0U81Aj27rL+CuIn26bOtXNKKSKys0L/lDV6kKdpOslPASfGOJ+Q0we+cm34jHw2mANZ1o4fTfBTVEu3IThJi1izhV+ox4b+5c8/geoBsM5uxu7pW6icnvlUfRz7Tw9y997ISNozU2X4GLRZGlnb4HHo/enpGEt0D+tG4daPmYk86utZPz/XDc0Y8G8ycwdEzG/GbQ04N3E9Ug91UaAWq5U2Nxyj7YJ5AcZg06Z837Ejg2WWLh5ewEfQP6imq2fQeqHejzsHqUSktBcRa+i8ohMPP1zBBcmD8K5PtyVSnDTAgi7QVaUJOfXcz5G08/hkCqmWllMyeopmLyjOJ/Ul+y/PdWxA0A8Yy0OsZyyQBPUeBSOgsV1bfka9f6tQu+iAtcrz/+rAANkhaFqm2t49Busu3sdnT5vwnH1XcMvFeJR5EXNe+J8aXSBkGOVxbi26Z0RhUKUzygMI2r6CiIS8DwkmV9SE5S4wYJdighhmG/qjpMu5ah+vOAib+J3g+kXJFPYOHjXIBkn0kEjA/NE6yU9GhVpsOheOxILzp2Jb5o/llP2n5W/6bbACk60GXmToiCS5hFvV1xbU7PnXxzsK/KVj4fPHfI5aI2rQPrpPijA/HcsS/nIWu0ps8/8i8wSqO7ZWDOsO6WGCV2LUumxfHknRUKOF3B0GA8Hd97lO4w/dBnwMSbcwos+4bS5FoVrQr/xvPR6+aH2otTH7FBsLhY0hYJd2Yu2etttyu0+BczvcRIiWdq23IwcA5h3EN+NDDtkln43u5CMqPmoL68MjhAWdaUn0es2PBjU4LqM0IQqG7T87h6vUg1zYf6Im9xLhSOVfJmvOlcyn8sr2t65PFoYc7ft7Rbodx5f+Fb+azmDe+UlVc75b3oKuz5LaY5eJYmme/tj6NM5EcPlGQ/d9sTH9f3V0wXIvWjPI9IPmRR6IA1c9PYIFceVQP+cUPy43fl8yK3gzw5vi5KRRJ5SeKUytvqdFfp8vFgDR9nHxK4p2NC7BqY/rr2dDhRR/RyjeTRpdg7+IysVP5l3T4utAPqQxeTOGVbu3z1HeXwGDeCqP764DoRB7vl7tvmRnpxzvgFyQDm6WghaoSuh1JPIlDynAmu7PteuOcYfmWHN7uTPf5UYy4MRCaRiAeVqMc3XsPz4bakRXrO/8Um7kWN57NwsBaesB81WLbGudmSUDOFwyF6FS/ecxKqbPlDV1NtrVST5GvuD0eva7Ub2ogtTD77CDQloLysGTLOYbwdQR6pbsmnVmjVInfbJUBwdL4CbUIJW02Y7gQHp1G0qlUmJY4ZVu0jrfp/Lv3mV07U8UHnqQeLp3U5kRewtO88e4C138jfGN8JYo24yeJnPd03JOn5EyVVa7bj9yf15QNBUFrHl4p2pMgNH/8lryAggNvcWJt5qgWdEf1zQieH0JA4dMGu6AM+0yQOscaL/2p89QBWTdOQWcjqYuy08odqrRHM+NmuVGGbmbFbvPFvmt50mrSLAM3CKd1DHTKnmz2LwJlydjVR7VZRtgzlCW6E3FE9iAM/jwHI4Td36dhmS+GFAC6H2YLcvx6hJd2lgNa7ZxePrV2VRfFho1NBWzO0A0YQXTrLHpGUUxQNtDtQkUgyukmA75nBLAjDbioLlrLsiFE58NK1jauzOup8SQpIeNH5AvsrhgsQwUEySAzhOy119bsLhcNtMDn8VuVHVtUHz/vjc9qtinGmsTOuwxhyBh2ONNBjXTWWCZCt8198kByhNqBEyISMZvFk0k866FH+rB0MUpVK5U6kA1vygsXit9BhR+su7MHE5lzK4sMyKseShkXWQsgVt19NnDx+xnwqfknDRM27Zb8NZgXdWUh8RlribnysCtLkh3ANODA7hZVShPjLtxeHAQgeDOTgI1pKRX7uWjwMiqbw56fXKLjOx4rKgYrbBTOOK2MBc5e5KDpF9wviomTRQR08iX8jEm39UbfTgGwilIiCd9G3rsKXEM8qX83Myt90kyiVG7BSIPptFq27xHZUMXxGX0KY2Eht4pn+aRNTPGhAnyQsE+WrlvJq8zGmhhsQRfvaOEenQGRV1gRUb0rYVX8og0bbvMJy+Dltfq25Au4L7OXEjD0jhl388J97bJ/u7JEJ5a6sKAiEP32mIkXDWOLA93I8OWx97LihLVwcubByTgn6/sCRsgKibPSOKrn1+HovRC2D1eOciNFXjq8+K1g6pdM/tfJmvz3N0ifZz3F6YTmdaIn7iN6x7rD4RhhrvP1ef+q0/vMbpOqLaHnmH3m0eQ8W+NqwtkZNYEczc7AV9SgjTuLhG53yWkiH0Y43U/fUo2TvgOBA4yRkTp2PKH73oXMmdl9jzHQDayTGUUE3iO6HsqjQpQ1Myv2POkQh9S6ooWAz0CqWPsr71iNcPSFIv8TmedylShVUKujeDnKaWVZAbhbZxff22t94ujG8HOkOvEnkUFDKbbD/I5tEVuwBUp7bNRxhMQvNsiQEoFNbxWHfXME4h+Xwhpb7K5OdvvnodBTdurQ7MZq790PwsCn8W1Aqsf9f3afleM80a5njvly+Gb7xp22q1Hwb6uTkNR6wJHfyjkXrKUmViwD3o0K8v8FlSYkmkrxohLfntCurkOYuWMyCdFN821ywPwf8ja2eyoo412wflUFWbD/bwckNN9872zA09mA48ANait1a2CHGRZJjn4MEnmRknNy/FX1iFK9lFowjEf/JmS4FwCEJ97cXUeLB2orwfvn0qDbB622SlgmbebbIM3rRrcd6KlGLt76WtkeEJUxhFf8cUHaPuxwLpU9pcTUTsjqtCyVXrEWjli+nnk9hNz7TKPMdgBl33NUzAu8WYzihQrOdgs/ouzEuwCwvTeMEIdN1sK/U6xbrFlLepqMU2XpzPjdKFBFNfv5EJrQQ5T8ZG1SsvvvLjFwyDwYH5yTRJuoPXo8CMT2LHwfn+9MNXocNzN7N4N1M48BnLtHyNn0P32pg0s9PgZJXwcJEG0EXNef7FZNWveGfMZAZ237/PZmWgWtUeUSNjWkNHZfsqc4/x6oMsj8xj38V/T7nHMyxrYceEja1rj3Ctq2MQaD/QzD6ggKs897RJZ3LDuxoinzppRZDPS7FQWcILophSJS+5tJ1JDpT05cJ3uqbdeX61lIpwTRSTtji1NpAuznOJuUWF7xkc4HtFV66NcmUBcyz/nDz06XBeAyHo9A0Fzjslfz/OSWIkrPjsC5KqBU9iEaIORLnyWknlgmQZ3DV5c/RNmPE1QdMHIH+capEf4VRS0YwFboZc2O4Ovqd/1Ph5/AxNUnFausr4xm4+vJ22ytz7JIpJPASlTKj0E33nP3snT0XYJJxMGuqLqYrK7Lwwo64guHJwYeTDdRweUDsSXY/iF4F5Sq4+y3drv6tDnblCZs8j1vDerJR2zE4/ksltGazzcWQL/tMZcYb5A62x8kWMwXmntxJsT7SZqu497y49rG48+3ELmDfH/3d/+XL87X4cujLTQG+IOwvHwY6t9EMhg7UY8hnjiV3ToR6m17uRe5xiSqTEiE88YegbiXGFhnrh+yfEV4BRUPZ44p91tmVKr2Q+J+Wi5a+o5iy026dhzx6rXJ5E2MLzj90fFEbMzWHoVnxIF+9UQr1oQ5aTHWmBgJc8yU5t2hjZQqMqac+q4Nih8iBcvPo6DZafitlnXe0it4bZRA51evpIQnIlaXMF6lhDkSPovBnOxRGo32duE5tcsBnYQ76Bhn39wCZH0oqUTMj6yf97rOByxlJkIpdnPC6IIeHmj5jM8qgMB26E0k3XL74sOzEsU9L0ianTW5tnu0YsqQzEKvX/PAP5TONGMKY8wuDDDKfL2e+sU0GeKt6O4voD3LliFOW4/2nGo3/N2eqxTFJFseBs0D+NyntrDPVt88OepGOvGeOamPXb0r01dkmu93E7+XLNU+1aCa8xdfTx+YJGosIrPRxePj7tIJZtHlZopEXfLPU3cfhQAdddT2JAbnrduwNjUjFzQE89uV6pR7IC0KRYeASSc+TjnWjCbL2cbE5lanG2ZpyTYTgoaNgw9Coky80todoApSdbLhlDRSIJsplOYLKHSQGlh9bdNN9ATEbhxfk4iJZoxOtLrWnhkHcIDs5akHvBgWhEYIkv9SyqNTGXg0qkIKtj+1h3wdsjCPiubxPPtmoYisCgBuW6S8fLhFlFTxvOJllcbnkAUb0VrNtgK+LQRxv0siXQ5PmdRYyrPobt3pYfxLZ+5av5jwKj+d8F5gufEm6/323B3vBz/pQI82fyDiW+30QqdgeFSdrIHXaSWCGEMBaAdO/p/Izryu2+Z5mjxIlGKeWJYulQpE9/h2yDIApZDto8Jta7X82GjYei4rsXje3b7aAYUG3wNmsAScQrrJWEhkDUY/3TuTSnvvRGY+NCZzp1joQiP5goUwv7mZlykBQUhR44g9hLcnBpRtb2l7GQd4JPOlh6tgRCn4t4ZTOUNvE09AnAMtOhdgJ1d3BvMUfrTxsNVcsbBzkCSRdwlGUkeoJ0dMYLho/8Zb03bTeqQZznUZgBDSBPco1LNoXCG8RKO/HjtGs6hxqojVxTJ6bubnZOqvm3UR5j4NG7yP6833MGib6fUtZhvlSqGx0sGMxjUM12mwJbtYHq6TJVxKpyK+8IMQP5Tcy4o+/z1J5/GiP/ud9ufpWafjTQI81wR0qXcdplvp/1okGEYu3bNUmzCrLHqEtBNn/F8OPotxwuMaCMPo/h8rm1oBS54o14ra4L2f506w/iLZSqqTKrY1nGL0qkWkmknGEiEPmeUhYIRG69uVmh20fbkwL7IijiMaYmU76jk+xRqcVw3NZxEmu6bm31JE+xQO+pZMRJ4PmK23HUDAlwihlL5hI4HRXgyq+0NO17b10QTB6vPRRPWEj627l9JFSUQb7YTTq8eQ3WKChAN2RV8uz5SZbtD/ThepaYy+VbLisOLv8+wGy9m3OlJ1EHERjtuxVPuks7/NnwRY6wLge4ph+KRrtoJth9JYEJbRVADBkQkXLIgXeJ3l3uBzSb4YQY2iHlA+8u/Ja2bk0yUnyXqdhATAVe1N+mU7fI7iZvSCRATgbHQNMN38QrXcsLLag1Le5UJdeqTWGprz+EoeM8u5Rq3pH1HS6Ejx8pcpwCB4sO+HdVoVpCaILvmzYm7Mz61qlmm1FoOFArKZG+kaual/HB4mSjtHqwJ8fovcpSyZyknW/zV+/yJhsuV8w6gBgIf79CIsIKMHY/GbVuAhL01xS9yT85LVRcwaHGY3GkwlIcZtmgZT1PIEA7gWMRBYl/s25vKBAhSdd7pZ6mhZT5gUSZTVz3W3DulY2WuyLOoamUO63o/j2XvZVxJy3eBhYtYjVASrwGomTI83ydJWxjurYePBd8oF6gxOXAI+Y1wOnGxuBPIuJz9XjEsWmIKdNuqpJZ6MIoRYZ7sW66yVzHnl4v3CN7v595ntbkEwOfugPGPex4K0dTQYImp323wH+cljFE7c41H63v7bRiA1OWXbJEDmyQv73HVItzEQ7/THvgdU0bYu4bHBQ4Z1GlCbuVtZah4duqRDzOkHzmZ5RmXmiv77xoYXNpIuzJPLA/pAdVKt/zQijb9HvIpq/0C7xlBe3+HuA4Jb26Gbi2qRjv2sjshSdo9TbgL1xEDuWjxaNb6NzcgwcT68AAyegBMDmzrEmKQn9Q4kYcyaVX/J9nWTZrz6ra5bmjRtCIDlVv+KzHUaHPJvM8s4QX5NyOv/qNR7yPZvQMRSzDWuRv5zWwhIdWFX6coqLQbdasoxrwkafjTu9S9oQMwxS7Liw9LRx0p2o+LXnbSDhgNwLO2/5WNjJ/HNW0N3XbPTl3bgNzX6OZBQm/R7Kf1obzIOD7FI0Wxtan/REBScMKIE+ciklhT7QtEla+y00RakXpuRa8lLfBH77CR+O888ZmDglvM+skZeGzqNplh55mbbSijSH7C8hxftUhniJb1wsCt2qFYlXyUzZAM1xN6e2Bv0EaZikJlBjF7DZ1jqUehEehEgdeUkKrJSPB6a2tdaCWK9N0Oy2Zphkl9ymnkpu6/24KPMpCi665gs/BIHLXPxBZXo1iK6qlUYFcAAe2S0qSSy3gsM1lR96ImxPWaeFBFkXCFvFokI1bKCZjg20+BPs30Rcw/hpP835sn4m0XDSuV6/ZUppSGspKPJ79M6swgJvZKgvm28HySk/9FiLQJqUMZCUfSDM9xtEJZaNJt7MPEpdIxLI07mvOHgJVvy4nzHOLD/tptuHc4jW0Bx+21NN2+7ICyCrp6U/0jE/6AVAK+EJSwL+8tYuY2SkYDTkleW+ChqCB8MrOvj2GDGjU+daaCxv4xG34aTV5kcBoeHtVqOGPEBi51xrH7ByrX10AqrNeie5J47gqIw3h1WUp4u5Pg0FbGINNs/zomK3hqqWlnCsiBXsWaQ9UjbB4yvb5JGh+mq366BwgawqyvmfNeFi2+/jRGfOLlBpjDkEX6RSLps3RjEMe8O8cLJGW7GzQxe/fSoaS2B1QCVUzkTVcbr1524JGOSMFfyb+YZwoNomVBvcC0R0rWhFgA1UjYQhkD7ttKQf8zPUB1MMVcZpcEv4H5koyhhLptOe8L7PV286C9/QnkTbgWtvnkjATi2OSg/LvHxf8dSg55iSoKYOz/kT3Sl06bPce1N710Yt7jK5qQamKV9G0r7KKrWRloU/El8c2GJC4epr2gxVC9WsczcOGx90MvB24BZrupmS89I3LzWlKIqZUtz96tu4bsIc/7GQ23uM39TsVnTgJTaA3/3C4eBnja5ZV6BGDzkTXyKjaj1QkReq1c4ZqypBaH5+zHtKABs1AAuMikFMQAf2wveDBbTaBd5HfH1dtB83lbzWbHZcwMNV2H4ZToxp4eoS0KPPW3E3mgndIe5LzxVdiQcWPSDLUstb39iI7ogwZvlCrWn+KIYM5FNU1XxCmEHldvdFIEp849OASeXg2zKMF6KtuWnjP+0jFMHD1DpawQOtqr6nnaEyCJz5/zQlKcolzkgAJnn8kqKVdSVncrVUNyHGOwgHBIA3HYai0DrFU1BxSpTEvqBL+GHtjrCJHVbpt0CD1tGS8SnPCJ3lFFrINyOLW5jOfYD2gPr/N+w9AuDpHLfsspbenefvT58rGuWvMITWw0WE0tQ9C7v9E3hxxwQr/GSX6HZaaRDJaJucCzH3AO8+DeI+LrH4KOGaiGt7c8U0Z5nqvnsRAGSkneL14rZBmRcxo6ZQC/OYfB6bkABTq3sW1N5znZd34B1ENVMlKjLVKsXOTPXml4B7xMH3VE48kBZ5yvs+t9l6sSooGLXZdPgq7Z3qYNVbbV90A9m0GElr589i5IU7BUkZbVa+K2Q/wg960Y3Vg75U1q3VbiBRGnqYUT2N6FKj2wUJBYhxnO0z5Wy/Cy4/8D/IAB9wpEF8ak3xVeWE9IZSlGl3HcP3tBF3eJqhi/gudkYxbJI4036SoBFXNwgysn1w7NALLOI5BroT9aB6QYknVx4Fg7YBOyEHGHMrvmOz+V77DiP7SbT2jilPAQHfVH2Y5hEFmAHp2W5aMa3r7veICoHt5jUy7nRUGor/+OJ9m8Hwbp49XEZtxorUdDd3wqUV/JWkV9a6Jw+D8vtPeMHaoaoU/oJ49HyOrgUwOr7Onn/D4sb4Pn6tIZc6rViID8uI+3cplRozHD9zxHUe91IF6zpd/P/tFBnQkCvOEZOcQpmOVDcjRZ/55ZRp+8ex3V4Y/mabUut7DGTfJBAI3v4SxO+bBt0KRNgZ9+BlEvbWFPMwVmIgEZfWgaWer1kKrD/WnTtV6xj7wY1ChWXIt6iHk3IGP2FXADvnwsERvB1r4gyVX+6di968216JJtV99Z5zzKwn1KonPYKSBbHvN5GPQcD3oVB0kyYMBruTYVMFKe/jPT75natEgomTI67QkXwypi9m03hsPy8vNxCcXsO1pzX7RdmKBMrJNKRjCwa6XHrIjH9rg+c+4xADjVpKICi1ABzu152pdqYh+7VWL6nHqrAYRlQM42JWMO9O2setHWXmVe5As4oqGZ7kgtoMC+VuoT9PQKVPn1FvKmCr8FWB9djxzSbBZVb6G7W2bij47LeCWysPzYisdNzL0VhFWHTjK1YTcGwyIxoSveFos+rrH9DeW929kbOtlMw9xOpWw3ngs2sUcK31E/X9YXOhHD2og3YqcjSsMe9RvSdgXt1trtvcdm/CuzMDA/3wSlk2EKGoCR1clN+qTI4oon3nSipxZ76HK/Mo9MJPl5O6fDIsDebfqAvIXrBBNiTfB7iM2GzRdwLWU1vwkHNkPmisElDLo9K00y2suDaGaKKUMRiFx6ZDELo2RsU+KYT9O/MD+JVKlfX5Rqel1hG0PFS/I/xq34JRoFekaPr0PsxvoJzIv1mrpWcAUzOKxvLK7DV0fdNc3NX/SjkzXuY42XzZmdxfJg+FesFkBD3dzPVD9l7r8uboI5D1wbbnD/eVeKRf5lEGtpBX0P9pSvRLWczPZcfzbGvzJ008TaKJ/I1A03W2IL0TBPCPI1KWFtWf8PSOH8T9m0J7Jav2/8e4O+JUdr01bT/0PuLeKPPMi7GxeqCQZorD3xzRfrhkaj1C2lwEdym6WECNqaJM3E0H4GEMlrr5AXs1n2HnPGL3oUJ9jUEWKEvxgQmtRjW2fX3BP0R+DsxgTqdV7mdxLC5uEk1dnV3An4zV7Islt9SUpniN3PP5/qQK1jElWuj4mUJ8/LpYi46ZcU7YcUeQVglCD59m9dI2xvZKKhtYbcdnX+OGTWOEtSYArdl2X+qXpaAGPxX0P1C+JnapVTLYK3eeM8g66qGCPgljETKzybdChCj+moJxYtnn+rew9XFowIeZrWMyJ5ksqZr5d/7DDlAykfhJhkdUylI8xwe0vY3XwRleAEIIFAhU6ze3ujaZqXlwItZKQVzVdXZmGTAKskoADZXIkJqDHUOh8kI9+Z3hWghWVCMvC7ljJyZrN7LfUyqXMlafELhWi9LdJqI/4yLZTdxYRz8ffMn3qZH49spys9+bclmy5G+XKXguMIFcjheEvhf47SOZAq+GREPtJrCO+Ni7PWDgLaWiuIWWdiob9Sf/df9zuhwvNaznpG09RWm0unCtFCP89kR4s/ZiN1biQjJPowf8bhO8/QgjbaWTTd3D6unBxl0nt23ryaQwg3utLBzhnwkQR8IjX0IIVjj0GHLxEwof2D/hhOK1csWbkzRrJALe3BATrlO4YvCTNUNssjnG/Rn+CEOFtUwMCiGOiLtUXrXmnir0/AF0EHS0nWoBVd+hC8DHT82YCdBQLdG4RVtv93hHcLxSuMyx141hlZoA9M3DrzZsn20nNaiyg0p5uVC/jLr9gOBb0qkL+lcyYwXhASHFWkl+GUxEctm3iVBZsEwPs5DdnmbI3oiAuBCujtnKi3qmVMfmiy0dXtmMpwjI14AfgCofhXCxesexjwz8M8xsm+S1AK2B16ewg7CoYryn2WSKToA/dZUQROE02F11LzpIqeYYqSmewJ145G6xCBPnW2JXwSc9JHfD5LPnTLuBPZZqkKCIZmxk8ldn6MViCpd0eQwmhypDHf/W8hgidamHVCX4ahAa/5piPxmlYO8fHHIK6XCn3sG03U6soUkOMDyqomXV1q2Gf+90XwNvD1g+z+3chnicxfW1Urp3Wwhd2CCUq0jj2gvtERXBr7Byls+Jk9avAZXicaok1vf7ZIwsL9NeN2vpck8jk6UGrKwzhrnqj+TEM1uNQPUDGy54hyvLGZOyOBzqGi9a3uTjJKVjVlmlvJ4Wkza40AFoTvsFEfotlOXnttOziqNlVwuGtWBGcAHXft3VP2CEwv6zsYI4mbbZ4DapcMlU58t37uyfXpVUD2sOFFFOedizZVR0pzqClDO/eGN9gfMef3tGrCHas6WMenWpZOhayXeiBwbzQIWQQUo3f0maO7Uzx37XIsT50+IfOiq+xh3NVVxElPnIM587JyPWxtdwuTQRtiq/cHjuMsyDxyQFKalukKBd/atD9oOu6gMqLJr875s9mq7QLJdF0I28ulayYwNvjWePrFLAry/FwTQfCIpusAryVECUSCkawu3eJMZWtX/DQiUGb3nOdgoCqe5WP18OCVVZg/nqSnrm8vgMgq8EC9VcgZlY26ylc69UVxcImtZ90J5QMGX6dcbqG0dMv60Kf6omfm7iINwV5BhWZDfH95zKPbo7kypvsssUFpXIzlTaVH5xMTLY4XGaEEin7dq0EHChXtzBlv1WprY7FDIEFASUdVuv2n089cgwhbuFNJlFXFZRxhBtF3urxhhScIRA0c4VCiQdRJpOl4aU/LrtLsM/swUdSptjX6Lr+m+vclEEtDGdhR8d7R7O3+lqa4D/E29mZWYHrYpYA5jkS7/EzgoxOJ9h6orIHDj5CH1RYfUs7uWnRWC7JOt/6YjUeVhRWGllh6uoC9LKw53/bU048UW/EFimProcmynAtnPqgUGjptkSWAbleH3Idv+92qy/XJrRdxXtqDToVGG888/GzNBEsW0Qo7eWPTy0brRiUygPkxYWERi/yKLwgnJE0Jt6j7KSfH6sqpdH18YclzIBaRGqaCMxrVugJStpg+42IbT8yGl0ipAT6kyys5pkdO4XLOS5Zki/Dodnrf96XuP+sM7imI8/4guKSmKZqlv+OIi+tIO1KC5Ny6JnmP1ICO7YPvYv7N2shZk0+8abZfi3WGj8zQ6zoxhgo8WIrfL7B1SPUH5w0v6zrZ3uLHg9CJNLSAY30MYidiz48DUkfqp1x+pVzj4KwY/ykenSRioSGm89MypfGffnOSMfPsINg2bhm1DqStZkJMUFbw73wq6Lh97Z3e4lVoPFKKE6oCwcF/2QElm8ZkvFjGLoY7oM0avJwrJtcjdNBRfo3kae8nBH6GDP+JSA/+uhdm+AzRMe+gB5PzUxlJdJIHdMv6UEKuTCzP85tcl5ejSWQkNSmDWibY+xVhZmotN5RSNZP4cxn78suydsLafLZO/OqY3RTa5yn5uGnFj0Z+IxpyOsN8yv3bd8kL/Pi6p73rOkDCSVeA+LXUj7ufzokEsazkSnhxbsjb7RajegVDnWT4Xk5p952vGezOWPBVjsA3/5jOOspQCOGrYMwOPtsw9/rLvHgy7oF9BgS2G0cXRcByhb0w+Nst+/pBspb4eFPN78qYrnc4r5ONwlrvHtyrva7UfboWZO2HO/bsB7jWM2XkYFvvkMjgHyv/z7MmvrdFz0hwavN686xCxvu/wmhQoCcD9R75GOrwZDSvx7EFDXiQJdV3292gJNN5gl1imkrkgZ7WOGUeKt7m03Z6DOvyhzV5Fur+44CCTGIU5hctdIewBEcv+AtdgHcasGzASEODkJ6TNIGk6YYVuu+MelvrSrB8/2PD7OplJIXb+7EFfp3tsDb1xijGsazRabcHfDcnATeUlgYlljmt3DSqkbPi/1eGxCyrjVQA+31T95Ns4BqtD/+TjF7cfQBaDhS0m7TZOQwLFFrTWDKDylMt9AUHO6TAKK3aloG3OPhkt/9/CfFzf3S3kNHH67kF+OpxX2t04atjLsjy8ya3hMAAhpmHjBA34l5NLTkVOhTMzdikUcw+wGSfqWDuBH62c9mYWpbZirNIa4tZfZOk/AQhHN/hSj2p0u22efR6CaV5BxBKoujPYcBsfma81k2W3dblpeQjOYkZDOpSvBbmS2MR/yPVNnSXhFstffGYSCc2nCg8QrLL+ATqnQMi137Te9c1uypZwGZoMU/8JLtrk24MKcmV5e2U8KkymnNGikS8i/DeTuPMtjlhIx09vPt2btKf8qGbKCx3KIHIvzI1S28yMG8aeOvNLH2jkChcH84pxEKq44Rb1udW8B7x/QOIRoIzER0Vut7Qykuf2fKf2ge14WkH8LnYxlw4B7tXCK++uUyu9SieoioqS4ZBXkd0WW9FBNNnFhXZ6II2B+9phX8jf6LjGhQPIKLSRCJIDWblxP3b2yGAnNzdB0fXYnjUqoXs9rbeLHWHNPZ93JVAtdBVEgqujz58JdXnx7jhEbjsSMwPQrXC6HcGBo5vGgtsFDIGT1jP/Iae9zHXDaptyoxIPlJkPkUT5hqVU4w/J+jJKCin/DXD3yjn5N4tcEsD+AtAyf5f0g4Z10lw+hmJuslnGEzyMzFfT36VvVYFM6xchD3v/D80bM7kdgkM3IWhwla35v5hEBEeC+UzQHEk5JcZ1CCofXZrVQQqFt4lnIYEqqBJU25X1P0Dw9W6q4QJAI0KlOEtU/C28FfQirIVdDYoYbfKhnrBwlE5w1dAAPRv8nZo07RfIIcjd9H96QcazfypdaoY7XFlL1Gfs65mwqJxpOWjvhIaqQparUvsseooM37LSTU+ERBvxkvOQUgTfCDOmdNB5KZLDTga0Ed5Hs5o3u/2XWzqLhbScm4aBIH6RiV08dnRexQR3YZa2ZtHLVD25DkmbsgegLSCcM1M1lp7XkpLMCSF4urHfAAPqtHlDe2/vnTkO24piejOYtQOCAjejM1Uv9csdcXdjuwX+TwtTksVsR7FQmNbE6GBgnXA+wBP+Pg/pVdhGYGn8RhtaHAqDnxQvDduXJXPU1enBCsk+9lwbnwpBheC/V1naQnI142UfPd8G7u23NBTR2lg73ZoEo3BMNFQfPdqM0y1TpTzJmIfsQSnT4vVQLvCn3+VKJkodjy7LLSx81IP7k7K6K10N7/uE96gFAbQ6nBpAEOMME+kMNJjdAzLfKXELzub40PYAgJosEx+5LgUhP7Zg1/UPXM5lpuLj9RVeK/cKlbERqRQSUdXse8pGrnyaCIMDbHX418rWmCa/EOU4575o44EmIxnVymIANli9QN2TmMWUQbkOkX/GGJEHvTDN2+15jUypMKSSp39R7WdvSvgHd++m5tR/YUCyHZFuwxdj72C/ph64fjDu/asZg0ZLYthpHCuu1n4dzHiq+i12bup8hTHlMjcLp+KjBB1JIeIOVJlrjGy3aKRqn0FCfPuTucd2+sg25xYFrBF/F+eUlUwfQkNwHj5NWc2BjuvwqMfcH++5oklLjYIkW5BgDVoclkKv+QqHTfDi5wV4lPmo2wOAvOn8BhfyA24g2DIrbBt+asvKdnC6nHGGQ6QBXtbc9CbbLQKYXdHFwuBx2yvWh9xBg++dBhXseinl9Y9BS69LlDleqyz6NG76Scb2T2Bg7cdC88ojeAxISi9QJYm8k0/VcWyK9e0GYYXQUISACjyKiGu4k2Al2faLEuArbOzjnRLtMYl24zth+R+SLbmgqusA8wqRIPx2USVbt7xGTQUSRg6xwK3Aun/a7KEYLScCEB4W+PyCe5vRjsC162pWJHiVWDZa7Tg9XhABYFBopuENBiUsmyoORrIFNp/PZYfLeUnMUKIfJBkDANEDpHwx04ZcC2/Lu3qyzOhMjYFZQGxjyxl4u2Ww+4bAraDZK1ybHrWLAdfRcjMFSJTkMqywmjlnl/pjLvvb+93P54LbzW4QdNshu9np7zS2KlEI+WTTcawr3FRUXqPHljAy5rqvBJOmV1QgSYwoY4ja7V5MOGgpUNgKfYV5R9BcfP38m+yyXc4ztRT1adZsJEEgKxQPWODj24sjHYRDkEDlUWrmhxBm6+kFTqr2CC+iwkX3caGwB+JzHZcNCO86QpImvHpZZFmpag3zxNCD0Ej20QKaIPrgt5/9CZYJ35r4Qbo6xMjz5UZPibtb+qAyHNm/dqULIcZGECm7W7ZAW1/4/BLa3T4s/gVXZ+Ajp4G8G658KtOd/16d09F514jE/qNif5bQINRJkoqfhg6gIyRA9DGmDWV9TNifLm9LZjCu6HhwnLhG0Nr/VruQSStcl2c6dvwUhW/bnPJcTuL/EQP9ct7F+abmOLyGAfgn7rz2Yy055BmWnJxKdMObWa4VNrbS931vOLN7gqXKq7tN+n8s+Uwi3+3sFAZFZLBUqHKDXSIOMVw7bfCV6V/qOg70XGsXdrI3zuxH3FtACHpfgB96hsngwX83DnJV/HsBG0gds7ZRv/ZDIBAXPhSyZhOBETUn7I2/tWsWYIKDLPAZNMVApkIGf8WOyFHITwHkKnHtVq/b92zRi3yVDEIQuwtgkflpuFJwMAi9F40bsNiYVMiffb+Ny6AuVMmYpm6YJDUbPHZ+zYz6CcONevJy7CuzH80AQ5En8RsI278cOMhzwose4P/MZSforUTfwoIANbRMMWmWo1xV80jNTYU1ER62I/2cDscxFppHW6GL+kgQqsJI9Jkwdj6xcK3Z3+QQ6XFdiDR5IDfuLUpD8rosNGTxZta9tb4HtnwV9MEzoJ2H8H64fUJUQdmRPwfwgzr/ImNN/jVJKoGMNbPTFrdCYKDiZ+0vCiFK1zhqgX8fiB4sdXgdFLYbXJyamoIYxUipCvZ5IcjrHFHU4Jl7eIeg/8HMURzgDvnE6u5f7rRAmarERJZHPykFdMERXU+fW7hoc1wQidr/dF9DU09KOS8qj6aoQ98Qnjhhos2QosgRb4A4KNyZPInH9sxsM13GQJ9YROL+MIoHTPj86BOSWn1WU1qOII/nYJXNR+FEz+yqTqmd7dUWVDRPoxQO+nLkJ/I8jnNKFE22w9r6qd18AL0G6lPRKV1sUQZNpjjnGavuPRJAxCUMkifus1aqMKy5MDkZNPsnWWGJboEI0BUTf6DwqGP36wxcxn/1/0yNqJbNEd82xVTlQt0Y5n7E0/o/8gXLYGaukqvHLmzfS453KL3CTSwlZxR0aiKYbhMgjL6YmUI8Ku59c1t8Ftg3BHlfhYb8vwEY9hAqzDALGHDDUCne7fQAjWOhGymzV/1xcOkkGx0qKbQftPh/F+WZPgkOPLPKoaIDmKjiC168kwxnpb4VtOYuCNshpEqXQoUdXdifIpmsy4XPpsGhL9LyIjMLx8tVmpmJ2ODW1TJOFemVqdSAjbIt/bnPjouWXbvGshlCFXi20SkGvQv0/pQLwvDxivf1jxkkyGWK8xCcWQAc2tUvMkLfpSCpj8CUxO0cMU2OxHS0McgyRuMAz+NSLBO8AE+fDm8Nnu39huN93UPzW5PBPX/GpddusdwrbfJBGEjoOnArUM+yCK6iefcC8wtakEwWZBgLNTQ9e7pRkdzTf78XzxZulwvqJ/dIMo+XFGh7R2GPOvhTu502AdOVIHm3ajcq0qEhagB7FC7knZOFsbTfdpIqYElyFS7HrDBhrCZuik4fZK76aMR+mKZCVQj/OdRrQxs+ucIAX/g1RTcDWuEq5tH9IcoQUaBwRhsnMHvut20awOvd0tKL/4/rAIgPgWDvSI88QxFV32gKMk2Ycm+egAWzlGt6EOB1w9hZeNCG1KHVlnogHCle/8u+l4KMCD/gkHU2NZKlyATqYoIohTgDMRdeRR+7MKs8lh0ddIakdUblpBIEUUNBLQDczGhLmCQ4L/DOokktMy1UzvLtZQ82ejJFwZ6K9z+sgf80tHDtP9K8Dc+PJGHPfkMe/fxW4JWKc81rLpmgVhiNmUsrC5+KW9m5q57YqHI6u8QO7WklqwTAk0stXDNtrWhFE7KKxuUhtc5aYQXPyE/9cybmHPY+PZvbmaFMYWMOeBB5JurXhRIIkrd8IHp8H2ydfLckHZWyknZu8aTHmoKlbqrGxvAI37Pa7AAG7Djnxj3nZFDe5n/j5AJtP+SVEa2bTZSizPRWWGfrJzadkzOj/YdMFlshB7lsVucSXRWUBzhUu+Xm9NOAcAweWtyHxc5UHf+RLNpkUDCs/ZlEPNBETrJEfHMQNYVHGvUgTjda7KFfRDxe7hM/GfjBr7o4OD5RrpcosN66Y7RTCbysD+yj0H33NUMjaIOK8WlIKOtkoW/gfZsNJA2NHM1L3oKjslmmq50Pf6UAxB90VDMJvdfeo38+fj/2w+pJB57XHYMbb9Yesq12GHMbZI7mtnuMOqDago+OZH2GB8aKxW9jSoGi/QQLm9/6vx2jjrqtusCxQyMQjY8zPtLHeSF+wxqhde8PEsGreFCDv9JS/rRwICm0pGDNd9MrFmrfn5uhQsGlZBjfnLkWlbjyc8IMmWZh1HmZj3ClrW+W/4rMGHFnvQ2xffGrJqtGBii3fYYZRHqtf5xCrWElkFhCYvUysOh9YRP+c3Yf9zLF4xFBgiN/ndqTaN5hUT6j/BqkiUuhF5ZPVXxWbpEz2AZQrhk8scetVT1MWqNI+pzHypa+dKqvovkHefEwDTfa0UERS3mWEvEp1LhRzxAM21yVyp2zf92P72bceab8vgrtvwXdt6xCCSJCbbLgTntDBrpxyWcJRur3R65iHjwdcSGNDRYV060g+Wv5wwLAvq+rLdTRX//tvCrJfs5rpkIc0AzTrX6GjhhefG4tcfaz+YF4q5X0i3JeiYbe4u+5Kngl2pxil4cRF/bBKDkZwlG+I1h1XSxF5EYW5PW0FDkQOhkSvUmMYyXTjrK6t3pZy3VXbzAdvxmpFDCFmsJMB5ppguFWNs/JZaz7oOqVC/OpBHwvHUecfq8aWB7Joi/7CzzSAYTPQyMwNUMdhOzbShSPnYThCGtUAA4CrqLjQZobSHRqUGey2jL2aFwEZp9I+/bmKU4zT155OcRjG82WRDJEZ3ZiFXti2K12UvAKqNPFAbMHc+ckTKJlE8fWlvd6nF5SyVgUVGD7ILS2RzIj0XMzHM2FXvdr0JJ74/n1A3w+6gUZMNFnWiMaDOyqCik4h153BNRFNDAdA1wAZ4Y36M+uc99fb8Q2f0DqRoL6qq9MrgXsvSKX2niTDSQ9uXN4EcjfB8qF8DLlipogiD80zhpdcyGxhdSRbMVjmOZTBm3tiPK8vXOXjUr34tEkuMeYKTtx4m5ClZelSIiASas06xUPVNbb1TxgICKk9NS6otcss2nbqGu/4Rj1OvzeEMOJe0BOBYQ9arvwmX5MaqrnXacPGm3AtHd1aXuZE1w7kYFPFHRNDKUByIChW5VRHnkZg8PYFeWlQKkszqKbBz1ZXVU9I30X85Hl1j5rR0F3saCatrS1XqQne9NLwHlZn6YnjaMwe+So9RgDMAXM96pEExC+rJVT/Cm235B6Qq7ZQbi7gXh86lT9gjXVWRmCLEd3MRKZL1afCNGqCtfJU/fWnrERO6CZJxqESmgQ/yPeTsXwZtJvk0eUS46pxH/pRGhGChIo7eEU3ASHze72nof3N0bx8a3EVUWbYD33j9dSSZmkgiuV8Jeh91rfDtxGdFhPuvK9j2BQq3NzwzLTsA9+I6tFB2kQF5+sc2mvVAdBaXNyXJlFMzpMpBo8NnTxTShWdPyraSjc7tTq+AZdbLWc8L45aUY5S2iSeNxbfVVJ+68ZTKZeg0ubQ0oC3CPO6NhHxiFT0l1T1uM6wJJDiq2RbXviLtzy46Y71FvbA9RfLf9hByjwu2vmcTBEvorxsRY3McFVpEUcBXJ5Sih42hwdr9NucU5fnokPjvd0LMd3uaJZrX1pY4WErHDsOwuMSYuXXhJ686kCuX2xBvLfYnTJurU3H4ohQQDwJrbcSBk24Amo0w844SzDYFZGD9qcHlwZ6dzBoObfiks0KkWlRcskS69BMNgSz6yzX9XP6mB93esRPUHrZcY36805LLkQK0CVwv0J2sS4kFddr+4vZXhrgHtwfl4FqKyH05LZrSoOPhTKGAONibaSTILd2UQrWtr9rTf6Hf5oZ40aCJcr3vso4T20msvG6WX7NweAHkA5Wi5bzFZrGPS0ZAn9h7RwVitCEwEQuZB6puCvYRGEjy/PYxG4ZtHOI7YBVxfLf1aJiZLYR7JyMokd7OV+xKO7ZksB+1bOi7ylFdJMGV7XciK/tlCDPCsdrmxmAQvLgP+J3yc6R6rMRkyR1zquPH5yj9l60njM7tNeumrELSpb9osG0zjq8QZHfKbMrTL1XJvH5MvZ5fWzh0OfqRNdJqAYlSBVhTcYs5Q2xEsjRsUSyA93FbooUdO+3t7yeAZ5f1P+Yro9i1Knrm7Xk1+NedlY4iGe3oQqA/QLqzqXQES3VxAo57Oe+9nWS5gK5EkAdEQ/DNEtUyZ+Qwp/Od3NoGOfX+hKNGA630I2Pd1ld3O4dvq3Aelb45s+ZA/TrQWyl6jw1eJtKzQseiWGXG1k9qr5cmTjBtjQwTbCgyKZTgvnytr3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Q30RXwdXtvkH0USJ3+j21vfjSjPiWLb10+vV+UlSM2rfV8+oXcmGu1Ko0hRXYA56GIM7tfukAZcnpn0TgIvb6hOMWgNgYzLSbE9D3ggm2qk0seidyjUYNZHD+l3kOEG/hEnCqgxT1SMByDo3uk1nWZyDGv4yqVWkd3dHERonKyPLJdKql8W80Dh5qrBoP0hOIz4LzVrDZ0XP9r5KnLIWsx/zCuCnZM2iSVRkrh2FEHN7WjQ25PsvtJbYdzYLH4hvIHeuoWgW4gfbZCkOTPq9jQtCa3fxl1jY8KQxyvlJ/ldcPWd2ZtYWzMlmfWdgDIYWBcJmJNfXjERQjZQJptgkilzimygIWghVbAyILqWL0q3fv5f7Bb7qX3ZJoLsSMICyPOtCHx/tbET01EbQjbLL6sw+QmTs1l6sr/wpMfANwcQRjgUSpHSnuBP+vDaKO7DNpWhiB4cVTVxuG2TbeSh8v9gTdGv7eOVg/am/ywLwBaKvN7fn5mUrQEoKkgFNE68ehUktIPyz93l2I26vijrFACHu/Axezk1dqpu+AA7yQUC1gYxXYPlnp4sPqFod/ocbdK4K9O+/Qu3kQXpAnn5RDXixwRdOFifwnRkMsdGGkbz2sKBF/o5lIOOxXDiRX0BfRAqtaSow0VtSWHyqdRaJ5l9IazrZFMQM07ZSL9xCBEkpr2WdzXv0prQBnb4/FF9EuJnhcjha5EP8V8L7/mgOyvSn4UMEyyl+BY4LZFhfisIrePLG02aCdzOLqwBaWs5DCStz8AqmxW6c+7A5x9rJ6HvA3kOXJ51Hw9KZH1LN30NCb7890CKktNHannyjfJom2m0SW6L+RuWDPiVJMCkKn9sYZmbN4GIlBzxdx3hFqqg1enif+1jEzuDIqc9tZxkG4WynZ4YwW9UiXq2B6bZp47nZfHL6zqdE71MaGTUsYwPYr8F1M0BnyNDv/vcJwXnHuZeG0/73xo5qHE0PJk/SW7DkZQ1SglXbMbRnsz5GSGomUXEy7xL898xvcBlVqL2UQ04ElOurqM74WLBjbFCYNl5ILJyncoA8QbkZBU0AwNdSyQJ8AbrCBJzLU72dsG35snBuo9ZhxI2UNRU8EhfuWtLMQLym14l8mdV3n3i1FqJFtP3j2Qcbu43eZdnddIKXXrO+13yCiv7zDSmcSUIywNSvWlTHunrkiBFRJRFvBBViEOK10Vwag9bv8dAziG4RhjlebHTLwWeINEvkJc8KCQDxDVE++fSsqgkrKcZfsqlV9MuAo4AfPB5r0hYun17TZzP7CVXXOPkzr6zOt1Ao+CHnZ/on0SkUvd93wLviOXZjiNQYLNM+6ANyNZOo1TEIZ2ny0iWqdbBABxrM+XDPinVux9c6BUegbFVzRdwmUHM0/XqYi5Agzgunq2xVF0Ch7J8UA7kAzuaIQzUezjFfMCDqD/ZatIx+XoshPY1RQjk7Oe+AJFHw8zbUPAFbnH+B1lN7N9nlILqh7XJSa2H7FWAPPVs49SeI2IgqwFtG3q2dP4vZOLbnzXv0+HofxmYVz5lvlZUHdIFkQ7aa73/GJF9DyxB3EGPzXUmQBSnT7CMo/nBZ8kzu9aCR6VbGgNJB8UR0LgcDlIuymouqUtgEbrW6xoRY+qCTKn7xP/5ZV/wsx+JQiS435ykqSYmL9Qd3diMR3DUiKrSYUlNnZBEEZx1TmxBwQieoiXXXbCI0DuC+TvK/AHzgNVftuXT12T2nUb+7I6FkxX6pDMv0yEBAm01k6zNoH4IWOlhaAncPgjYXtAQCvxUx4XHVvB/2mfy5axTTa2VC7s2ObEl+sJyrWIqeUDVkhfkbhqP4ylIyV7gS0OSTJWBMDl0o/p8wpIT04Y/7+QuLmabd/lSPaywSkTO3a5d48DQhOdn/2NthcWmKNqza93tXxFyndHtO1Hah1m+hHiv+RX/hchtVKapa7Nm6J15yKS44q7R4+sSvj+jUgM34i4nW85pvdghmIOpSJNv5rNiT7MGCpM4HN8V3WPokq/is2q31dfri1b6+BieU1gdCq/0FIWHBXwJooNKPCYMLyu9U+4N/JndwyKUirlycpwcvHnwycJfnwgQ/sv8CXIhwZJGzyjWuqto0rgPBuBzctx/G+MR7rqpPB2p6iqANLcUEDs5SDdEMtIg0lEAtuJ7T+MOZiUxKLIGVFfMYlJuWZTy9kTaSFMlNa+OSdOhoghmjrePO+LN9yilkMeXlU/ElB+FPXcrlXbuyOgqphyayG70r5Er2a6KQQMW6TJvkq877YmCOaDIuKRRCJGTyRw5sGvtWQM6EZUOjI0/FN4/J+UkrVbJiOVaXULbS+gCSfjR42M5fXhlXOc5dKBxWuO7b3ZCYKTytVb6veVKqerRGjjIJBq0jzICr0Sbt2UHwgnY5zHS08oNxfxbX7123c+6ybvvghw8cikrkdSE2iYhKCSvJOkNeXkHdHDoSp2157MV3zkbSKU0Gytl6KvZaiBL1ZmkuBIr6852JLnurHa4N/tt1uzP5mwRpghkoDuS4wiI7ZuYrl8lNnRi4i1CJNIlJTQ1k9KYgmxbQYTfUvRovy8V6FmYEYQ8TFfsaNjZ+Ne7K5vZcJSbEZvP7VI0hV9b5IwccsniJadM0ZgbjmmayyEvrUr+AruTTGGkZRRmeiGKPHvAFmUjcM+898oAYYGVIMGEapu1ofb8dNLCPZrUSorqZIr3gliZDwYmRolxSW0CQkxbp6YbcWBC2ZPQL7en5/6UCOw99z82/Y5q8wYERJ4QytNi1wTuv35XLm+GaFtPv4p3Mis+6ny4mvf8mN7oaLLulmPGnKxCDzZP11IFUr958EsRKEAxDa4s2Uu7TeXnOZjXS5Qe3yuduXbso93qpXwsoPAAZuOWnw8ILI900gS62ll44b0YQCRxlqDGwM2L+6bIuGUicCvYNEmA3RtrXN1dQdPESBNJyCUJ1lsykowQbMv018jjM3ENmdPEqOroa/MjBBTaXMOBwkY9Twe/uTQO+ZU+N51NMOSrk03D6GXSkazckj6ll3lPF3DUcCzoRuTqOb/6hhwCJrcVG+KYj/ZRYujo7IqGE9gGLAcHxBT7mLfo/4GcztJotr3+fCqddq6nKDKaL6+tmBBjcIJIyXwn+VdZbOfw/nNKSd9twgki/PMs2psmtGF+1j22tGWIpgCB2yPNbyFeinY3mJutKU/v8fo57Q89w7xsPCPFRgLKyE6MwkwUxox0tZdFLE4Lkx/CJg645YlI2cl4YDqFo/l/slPpZj5DW7JjeJZpJsXG/3gKAj3Lr3OOdhe49BJCA5wKf+t/LlD6ApxOZOsv9q2CQDPTNbO2sV/o3znoGYeXDDR50lT4zfRa7TfvJca5guUX6J6FPnWhmQJBQewM7Zi5nh9C0uVKm+eZjetgINcF0xHHZp5tbYZ3+Waha8xQf2z2L7onW+nbTXuQjG8XcVensgqpHKqm+PQDYIkMpLHS3C08My+xTTS6ivq9uOGXNkW9Dpp3ImD4v2TgaXSEZ4Xfox3YJgfux4yIYFS+1tIRguFpLF7EwrWYgwEFwPL2/WVSIdzsJ6l+woBdGqYQqEMGSiU7wPzflvtL0MGzqfR+B6opDtor3tH3/GTT3hT7ZPbafgylQui/pBVTbroxFMQbqx673sbThM058GBZApT3mGOyKooo1qv1qgUigi3sefxT+KzBFxifhdTGiqZPnxVi125V15LQPj7Vm+R+hydqx6dhb9D3thUiBGBiij0PJ3yZF8sRAFCfgTDmb8F5cD8td3IhLtLI6AoN5g36YjiktLgDAEVn9DzzR0untjiV50zToSMbDXapkqyn6aK4yhPV3dtb6rgExD5/FrZzi/rTiGWlWlD6aLErO2qobosCNPDszIcEU/tqQ3DhhVJg9xWx8Euq6u/iz+7YJI+trOHr/t03vnH5fMGe9IRd7p8qK6HEI3XosBUJh1RFag8V1tlaMQRrLSRLvaQR2ibq/NRQGn0rFxGvtfNgrIxgnKCasXZN1+wJM1L+mvpl5UmToHw7f706Nvwn/uiNjC4wJOksYaPLpD518/avMmYJYgfhDxu0vJygj9kb6G9a/lVCHs0VUnYYOBe1wh9it9RaS09h8kKpL3Q4NOObmyxNV0u214NvhKByKXQJKx8R4A8b5Q1hIBGVQloP4r44MMuUHK4XlLPqoPVFHP+mSPYzgrbV1KClKEkpSjB+pFq8tDdnwsTZ99ijwUz4392sc3/5+MDJiBKHrBJYgtGHubkeeslL+hz3cWfjm2NZFdPZtwxykCYJi6WTfgvFkoDOAY3I0hrcVeFresKNvH0l6FvV9b32BpCbH00yPwVSxwzTTxrN71mkeWTAlUD8qxAPdpFN2whie77Ibjit9P9n5AYGf2YDA7M6WyNJ7W+ffGGuNeN43d5fAZrlKGmfZni2qyA6/x0SwgDoPPw71bIw7bSqxyJV7ktTz65w1vr/392SyuwePnKmYIpqvRyMw2QXeZugl1jfp6pxs1WZv2eBqr2Ylj9/9NGla0Ya1CM61AIr/PwqUshFBDeDqGZq/sqTNlnbse+zKR2Wu1rRqxaroyQ9CryOeKOWmEVIaoLRnPyMmtq3QnSLtNjEOR8ujJFmtdK78Mw523sBAbbcIXHGPLyt5cBaawfy/Pt8eLgEz0RvO0RNS/lp2gMTtqVByRcW7aOZQ5ZE6c5P8+lpxXZP+0ZRyhMgbseGV7aJbdkXLdNC97oXiYKcVXQwrQ6P3Cslg51vj2SxFNtBmtq1z5XDoRgtwAHTfHVJE9ObEb2FXaUf/72yiDjYDaMtHMOdcqLw/o/IFnU0iFhEdbVsMzSuqlUQRiNeUStSx4zcQTG0SL1uCYKHY/U6KZhmOPg5CtI73VN9rnvIPr6ZfydEwXYTM/mGKp6X76hfuw5YBc4aahz+6SYoPG0UOEJD7JdcuOPMiRnbVlsjpJobmklNRaDoxGlU52sVV3uMuQ7Z4XdgDAQwCkarmX039m3XTjbT3QHJb+7XTH39h9tHT6NTNxC/h+/aCsTPaXRpuIAzdTnCTm4ExtHVgVd6lF4aWIRmYskqhpbnDHLPwB3sqSIGTZFpQ6/dQT06nKuoytdSMKKwkt8UweZUEGVRK1tVcCIHM21xayYN5oCK2tNRHTAV7l3SXgPcb62wZ2sEYr+66zyA1f2F0HXpDGk0aUuH8xh6QKoDnVwyGRSbnIphUsNixm3Zwfrc90wCk5a/qy00oBVMx5c2q06ADhYzl/kL/0ZD4U5MHX+6QUEarz8W5OTWWvmd/h6qHWiIuVoLpvRzJpDKPU4StX5KdEqm+tejCxfk3bWExKnFw5apgf0STEJQyaJGxrCjS27GjER7JtLI2emOdpEXc0D7UoYc+8RbrxOTIN0ZcDzR0GXRvjOX8lq8/SjD1H38o/dkoY+CUrNMSam+vC28P5ZNr8Qt/xqHwIKXzDxzAYOal1gCOD36wJVEl8QehsZBmxJ7yvb4ViADemj1ebdEbre5BFfWAmHI4bJDoYoMLSDS9KZvpMnCabNvCsEV55yDbtPPrFhccXaoge2UJIH99cfvlVibaB9cjqQgsbY3pxh9S2aomg21Sj6NELpzz5C3Idtnou2MG6Zlt6RwyOtscJO9nmJ6LrLNa5I3inVS3xp/agYng007i+4FCGe8oOHuvxO9EmelPinLhyssvgvfu4q0B1/oDiiWZXWVQUHttpYZBQnEtrfJ5pprd/ChH90khusJS+gfQiDh5xphsnE8R5rfyPx8CO4rH0Bt55hRu/7BsfC4hxuUS4IeXFbJbyDHqwoSH4YEpNycOUc4ZW/rDAqijHUSyongLkgnyVwSFrjGI7OrnR3tGD+XhpKF3Mpucynilv0/nQzYDO1TaPSGqFvCM4EqIx0ZsfTm8Wo7qWs8OibeFL04EEoEJZAYhuYG6dX4grkoAm0BAfI5Ey57wuVzD/kB01++8zQBdnDEGUW4Y9uJ4tremsp0vMncJKXkgJorVF21YDuG6sOnKZLs1sJj0JlPdp3sTn7Lp+3hJndYPyoHGVofwm0FqK8WKkUpASPWpEHVS36PUKxKSfe3klkTvgjvYEvtyG7r5r5pvLoxLdKTFES+pFFl7VVxD9T4MlJlnS/jL3gthI4wxm/qofX2/8G/N9fu5ErmnXq0fQVe1Yhl6Q1f3jt1M3C10Ed9Ms9uPWXObhXp6ch38Vc7Hf3jf5+8zM3f3TbxLhVKN5SkugZaajdlJpmPDPN3Y/C2jiWVlQh41o087xkqbDpgzUpvFRAJa24sMnVpARQsqaTNHWClRC9uBEJXyB3UN/ADAx+DY2AnfWgg2aYZdwP5R39vJs2C+Nl7QxOLxX36sR9JCSao0yRCm/Sd37H3pMK8JSJEvTkwFIAuMtWQFgUDUzcWpxY6VGiVlPNITJdhTL9UN8yZW+tJpS64YXYr0hDlp5XqMmTH8BHOUwwkXnJAbZK38kKEoUAGiKuUM/ZcDjle9PAzTtwItTx03LRC5e9T1+h7oEloetqCOov4RjFWocwOTv0G4b10Bnr7It9hob75/u//EVxAUPR21me+Ee0f6j0GpB9OCm5VZIdIdL4A7dY78S9kB77V5QYP4/yd75Z2BdWyBBTi2lwu00ip179s2sRz1azIal6mze76fyW1A/d2MXONFZxIU5+jPDH8h+KMlYfiFpJLCjnf4YzOA3jiHUP+Gp+4EpYqOTHGdwLluGLz1BhzWK7xFfOx4aE8Irlxp+9Pn7r5199xQxdgWXbhn8hHbeUoqnmNlcm9V55OrMGz+qy+VCavno6na34+z2H6Vt7QxEft0vLGG/BCFGjuXe8iswPddXxdj9BHjsHkDGe4B21A0wPEjD/YNHHQ6t0EJTFPnvzZJUjnTbP77L8QGQ0yYoZitbUEaUt1lw5cxMb0kQv8m4EkViABpo2h/iIyohuBkEPMrOFgl4sCB9+ZVs31TWF6iZ0H8jBlDf91bob4SaBWpihM5IUoCOs3M4lbc162mBjp2idFvM2T0uykq5+eGtHT2k8GfGzqFrxjNrMXLrtRidGDZV2iTu3YHGoiSSP97eJihlwYwdM2SjyGvQYkdKtFJuL2LT8FuABcvw6LR1sN0ENF2LroYp/c/ROPuZMWBq0QSR5fvmDN7qMxQMsGy4+/OCeqRnlCeTImq2P0cGsyMfSCuUAOi17r66j84A5RjfHO0TMIO/aaUOyAzV55jI2kmUyG8AdneenUgUxXjvGFLMORTkOgvWjPM5G2xR7h4Gfp7468iayUQx4qME59/e1162zLS/P5mTo53xiTHnQ5Oa+f3uQtOlcr1KWTpbYCFHzzdrn5lHZmr+H69NdgqjhxNDm5ZqxNNKls2vGxMl+6+tfEj5SKUjHEZKefE/vdGBkjbtAKNQQqHxTI6jvjn2QG897kQc90NyHBzvz6Jg1PYDU68bWFUwh8JM9r9hKB8lbH2yEmbj+LgZhys6gq9GBY5lEQAhI7EKxU539iCLJvL++rkngthMbqbhM6KI4lnJ5qfuAjJFMR3Xpcw27K/B08PfJ9mr5vuYHtTJz8DPBybu/wMSLMkVS3TUE8yj0IabFTg/rTh0am14tx1ueSSL5LtSwhI0cqXm+n2LvKDREAmoJ+qQ2MaVEV2g0R/XZ5rfLQdb+zwx1Ge/7anqcS+FXvbX4F9XOBenIHOb0hRmt0MyJJDNcFKA0d0rso3usD9KJcZILSjaNHP1qc7OdqDpSh306yiMVYxS+Bmlxpp3QJYJdBzc3dYvxocdgE4oPj1g8aEUJWe+GCvdkLBa80IEk3Y6vrvUl7aml3D74Y7qLrAvrnvi+TJPZHdrvEf4TlDy5Iqh/z2AB3N8kqmRPvlip678NXDDp4HAkIx2OK0f6mHXUXt6H+ubPHscApeOY2DSqEU3JeJoxQ6UFwazfasoXATtkl6BlrA2GlmgdUgWc5JAXhV1JsFdPhZ4mnip1fG1xL7CMET5MFgbzx6cdm2ERUZWtc4Pp5dyHXt1Tvkq91MPw3SfXXi9Ye5QOzit7g02TWCqdLbV7COIh2f0ezXBd2fvxzSC0OXQ4pTRPivYzoTyCSqRFGkCgOGQNbN9m6Ft/f7E5y3MGfsRufj1UQVUqE1jEipk+559HOne1vI7U/UD/QOau9pVRMBFmy8FRF2dPZkyc+q9bxRRhWPprYpfaZCBYThy7J55cV2XQa30cmgdOzLQK1e8QsgymrG4yv0MmfvaAmC+1AM7ryGf4pXQ6FQKErG0unKuWZOxpEjgjR97bbC/mKyfVWms3yFE6ZESfUGgmoKaIf4E0kOPGx8lR2PogWozMGYH4uxIumSBsXOAKcObCn9zpqH6aEC+KDogxuIUtU16dF6z/3rGJDgiFh99rza3VOUQZMORo3h9hd1UfzBzh+ARh0df+jpcA2/YjkVhv+eITrvi4jCNvcdGOcqVApDKzMZhJkdopv9vwWw2xu8WvSaLXtaaPYI/rd6dxFrvNQyR/8rYGYxAsWwPST27+iNxYm296hT2bCyMPmS1khOy4HiGD23ueXkizkqpAKupZXHWWvlvhBAiY/M8IJYEuybOudQZpg8aWUA/Nd/vhiInP04U5+/MwrH8Dnw9iKJyxR7+ZniS9cYwgU5602QTU7Nl3AUbenDyY3PQDRyFRrUMbcKlrXUZOzDuHeo36Bjb5AobWQ+Bf7Sbx21Cl+qhI3RY/Ggkn8EN58x5K6Oo5X2rtw7Yxm8fgS1jBQovTm/7Z5wiTNdc5NCkJv8FYslOhV2qO8FSc3W5rlpV7KeeXkoCPEd3YCAz654/onzXKX7TbfIJEJh9hnVCXw/pfVvmbqm2iXE8w0QRwaLqItMzGu5JzYelJeWnesw+oggVKB7TWGQgHBmrWcaCIfSA3LqkzKmbQYYy8cxEa4X+tM67fUFmambHp3pAmh9AwoWeb2T5NqAQ46MKF+TiVNntEGAru9GQuXJSnb6eJY/kVO/edwYUFpn4W2ioSsE+xelY1pc72Vf6XjIkizo+RHJ+Hg7tkU9MedbNjnkjORkHBW25qCpltCmoWskGuxPcwmvYsbIy1jm6AEdlT+SrvIV/3riqeHcPYIdPG+ZFSDxnFmoiEUlczykRShO8eoK0o1hDzWmZor4fDqAhPyAlrAYU+YnYqxsgI5bC+Ec7S5KAUHPjxQywu8r+p38oyOLe8DM9iL9+44kaexNBOs5JQEe1pYvfgnXn4+aaDYp9VtvGwAeUNpdAWY+PEJkTcdvOwpFnqSLwNNVYbB9N6anwvBB6KWS3UQXQTr0ZNWjx4AsKpuZB2Im1SwXfJuTtwoWIZ520kMcYZYvMUpfINch2UtlCoM/jDkV+6c9PjnBxf6cKTfnUpPqnXzkQYqp3yPMJf1hmdhXglQSi58dRMky0/4gpUjNVOtKiveKtml3T/E+rJnSV90HhdI+HPVN+WjyQy5mDDbiZsXqbKkLyg6MnUZ9gnFAAhYhLZ0O+zFzjZXk2jAdYqpTqchLNkvsnpvqWiE93jn85MHP3qBI5BSUGNrP/cIU0O6ZeJUpn19721pNBT/EIytG+kDYj5+sCryg7pPiGm5hbfLpgd3Xkwed696PkAHr73xyViR8bzXewX3elVk0scfrv1jRS+SbrrCYAluYyaBk1VAtqbROQmXpK/42Cznm89lJHk2w3YRtjmRG5GjzmOBFg9dDK4CwEi+/b4LtP9mB94/VNKjRRI4tNtKLyrVhoBv9gMeqZJihDE7iEQpByvowqNpxPpOx2eBUdqhGiFqFeZXjz1NYndf7YOE66W6ujbKVygTLkyyWvapn3+A26sp9d4EURqFibdz6wPZYt1iGyLo18W8k9PQqDkqfRmlelWxqMkfJWB7BBRlIK7NiQzlZh6OOs+qpwT/lSu9IoOXcBdzBzVPAurhs/tBDDNXH3GEoizxeoCr6y2uJdwUs6EafjwLYUtx0YJuC2gdiiTrw16R7pXPYO4xT1U7eTuau5CO0VVsM5RHojxueQSGKD8v2O6f213QoaJdyqRiJWHKAuckBoR38+hUNyOjUEgJGTy7n6fcxuBw4PKiYweNJXvYmH/rpRjgj2C8w46dgctIUElLtMfLegAoWBtFxKWgHHiPqfoUto/uyysOcRumvMKa9WMqjRRoH2PaxQnXunIWMNtXrdbbeYrxbZwbvVTtLRfmvwU+C1MFkfSPmKdL3sqf3CJ30KPqSmVrzIseEPP6nIMNG66V+/nhsSW70d3KqWArgJi9Vq6UUZIfdDtO88/8HnZkwano703z++8soZQrtpmOblZRJNK8iRknmrK0a4pfd0VZZgsX3KJ5aCuN9HWSxoUb46lEruUZJ+4yXX4TJsy5VmA3CS2i6BvE7XKUkwpzHTGL3xuyy1KMj/UCSE5aISre91gQUuhwSlzyIUcU0AXccEKhLnYAF8qHay1wrf4eiW37ExXjhxG7Xb2Nd7ru3nfFFyOxFZ5ZgRbq8k0rph4BoaCwFOXpc9Jkj1RfsBK7K6IRiuQmF4hTuopEsQ6U6mkf8pAsttfmMJpw9brFGuz+fkZslQ2/bB50FRr+2sJHwR8WMTZ5rlwry3mq/Q0BcXfCaaoYizsktM2VDzPlv3T4osszbtybkJZVcKxz02pN51qs1kXNCl6tf6/hAH0Vhihem6jYXpkaUM22+K3NjeATxOyCFpFPju5Kzm0BgBq4rwVCy27EHhiDm34nri/lFBfc2Acc7YzNPmgY6Y9qPrIOAStes67JpplSU/cv4feyBOI23Q2hnwuXedvGHd0wfih+sEQy4Kpe7AAQGm6HCcnHVDNocdtXkNruzQ3HYV4/is/7GQjIZxxtItiwMd3UDBknWxwJ6ILdcMCN6xDyWCv7QhBcO8uN0bk0HeEecQePD5+v/4UfVXPLDWWYF15BkY8Pm9pJ450msPjUSH28wpTIiOpfYEklyrlLLnGlBS0ooQZGYQAhWojcNMMSII9aNFiVHHq6bk3Ig5C3nEVu3ZzqLgyO+t6jfEsBW+62m4PF8zu/hOb/quK0bJbi5d2xGtoSUgYJ4o8S8bjNJyeLheq3u0LrljgP3eLIKo6I9AVLX7QIksBxK4PS96kKTNyNfBVUm7ik264YUcYNTwdTnDkigusvzVkuYisWrdJx6vgasRWXxWp56krm/hrFb6bMslALD3xIWvSvOwCrLW1weTwTQdwrlqcfdT22wT2/i1g9NkKPnw9KPJXbkpE/TtEwF1xoLkAUo8G6csgFr3Crfqxy0vNknfkugrFJBaw4CaAzmPbbUUoMOfF0o7WhAJu6vOUI3sjNx9XUCSD1F2pP09saOrHwgsSLCjOafN850pwLWWWSlXqIm3JtSEiz1AB0/2iRfDriDZu9xcBO3S9VGwV8cBvFgf2ETlhgc1KjsjI+0k2+UBKHba7x9cDIeK9nwWEncrEvY9i70+p9DuUPwP2y+1y7of1eCNFX24UVdrC5kEfgM9W0P6z/4naeatFVj7tOgAq+mEp2Dc7D2pwXvTy3P3k36ZyBEfdvsR1ez4G06r0EGW9bair6KgobU0cC8L0UeQMG58N2jwVfOZq+aZU/A3R29wL3AUW/9ZxM2TeGSY1fsBWWnUuOPlCcadj4/+lvLDngs2XgXCADxEnt0Bz2vqbYy0GGdgzNdLlKdTS4vHMgmQoimy6iIw0VrOmHySryxhVdJaqtauYqjqmuwI9Eq3utnF1iDBBFFkuCOefmWQtdZ/IMiP4vLY4fGGIq3SdA0GMzDlAhVi3GG8kXEt/ftrAOIzW3WRah68kUgBjx4BC0uIxCvWnVcWi+CxaDyHhYw4dNABvVxaK1NPINkj2AVXwOzyXh7HzQUdm93reRHMbTVe0/fp07w/IHLSFrzbUx+jgWQ4I1xhba9+HMorC90jVrbUU6eeQtIavj2GCVmynKAFT4lGuIusVqrZouv7GUZmuXUzLySzvNb213T1SjqTOnzEiRayMMiE+IyDWAUv5uUiQLXNV5RQy1A/G9KVXrWytNcCERNcMLtwJ6RvwMyruZ2hJghudQiJNZJmm/csi6A21rab9Ye2z9cpyL7CVmZVu14SyOKictP016+dV65HwQmTE22p1QVFHGLBQaUJ/GRzpr+khX/Gvxzd0OzfH8IH7yGbEtbS9QYiO36meEacIOwJ6XblGEZ51bx8T+5oimHRE2ioSX9nHATjzEG/0m5QpwpiKeuM2m4daIG0stmjZUY8TUg/CPNIoUHd6eBZAjHGZicgot7zOzeDyevgtrKeUYFRRR6S/z9FXNWbKxXpBODwUDk/qVOTz453/ZPiCr27CQ8Km41lIlCvwJ+BYCwlTO9pCie/NHHt/OnWTVTM90IJQHI3saCUA6+TlcFMXynUa3O+lTI4yXISSchNnU0cxbieLWRtOMLsJvwxLjUr3h0LsR7LJkeAyN4S2Fn33LyRhc3nSmapYCcSLBj0tW6oDW2zUoPDBQdV2SoIrJAygOz8v9gYPBRS9dXzpX6O0IM4sHsJIdF9ExhJ/ejwVT2o6mNmsCiWJEBDPf/EBcHmMROxVPJxVDdn2vApD4be5R4DFB0fzRKLpqOBLoRs5xI1Sj7c6CF7icIuMQVtHyXzOKpN2t3OjpGOolU5V0/S6Kn+HtFxLLi07WD6CoVT4sSFjmPIkmDY1oYSEvAexj96huzy5r41hZN6Yw4wvUA6YMaFthIdjYQJQxTFcHvfWNrDrd2qh84mHWLwoLvfxZHfowpsPc2j7j5Fz69Twacnd2U22cQAYOZsnHzS6jDDZ4m8h5SzCXU6Xy9UaP3bGs4s5yYxi57EJ23BXcbEwVGwRnvv4IqBwYCoSy2UUtKttEU+gD8/YPfOpphsHLM5pHeOVHgddUm33/pAme1S72ByQ0YstliybLdexx3KVl284Ssh7o1jneNiiG2QGsXFoWG+dm2nFwULzXdPzpxFPooB3P55Xaj7QPdWTdJCMbJWEO0ahzd8Ox5h9y7NhpZuaadeRsotjJlRTW6SEQ9UWcYbyeDpZsIP1tUlrde+33rdqRsEpyCW3kd0IZiK7g+na20eHRbLwyUvOQZhiqqHCP9lF6VzsWZ3EwVKZk5pFtHqsp+G/8jZqGOcvPP4iYmiiCrBs6qWrGCwqcf7wa9ZQc/gK2Y2R4eaVnKyCa48JV96O52VzeD5TRnWVviFNbVE4PeQ7Ke9NTfg0M2yP0ro+AKze7SNum5J2c0qdGDnsZ0JEuaCh+r2f7Jof7vvSFSEQPedizAvfKzzzXyGZmuNReotKyIMjrkJWQLvU4hEz4OVjYXZc3Or9O9JOCX42TzouVErRzKJIEdOHuUsu+H9ZraXsScjaiiUQtXjQQPeKD/sj+A0D4at9jMODOYm1bPOdLDL+9pPU1xjSB5cczHmSzBULNzfF62algr6H+TqU2oCokCEg4x2dWJTc7BMV96pm+h5fuhHb7vMIlWvZDzXUTwF/y6KM8O3NLr1uFPviOvNbnhJbVr/t1nsmVyFQlYTEIBPxCc8us22utF+M0VUwni95JlmSJQpdJUIzcITAmH4C1hzE7iv8yo8F3iIVMfM36DC4gPWQ9WYzMh50Y+pwYuN/N+Vrd+xtw4gHXHzRPtbTMCk2bKFHLB+JpAUADDhCnoimJeOieDW4I7H3UHQMIR1jezuffyfEK8fJ4vwhoX5+l5OlTf9CXC8XuZXO/+FYbwjLueR1wqVyiUEfY6/9Qm5Q1XlJxaaQx0z/S5iPAeFPIfCNo1PlHUptPaJRmyqlV20vGnsBCTrw/iB3Oxo+LFaxf5YqFo/R6Oxbc7rH5/0u+m29veUrT7qS3LXedQfJ7XGD7dYrd8BjuwFcIOLCJVTn5C4nyl9BqYL6ddNzdvcj7Gu0BWPILwhQOF9ZPzNqk+1EsYXR8yx9XELXXD+oCjVy2AG0PwxgncjMIlP1VKFexwC2xIR2hJ0rPqIPiZJHx3v8eZ1+/Y8ZDHorS0ZxOQEAawu8W3lrUt4UsTKwF4bo5LWGkzSDsvCv5SmuHKugjmOsNAj+oqbWyA0/fePh7tZhJy/EvOopm/BxwbQsPTKHLA1S9SzE5MJfju4fN47O+bI4A4BEu9KfQqtsCekRdXLzY5O1b26PlCZaiOfl21A76xbvCJNASfBiQatVRaMQmggU+llKfLnCaALWtifUXvq0CcQ/EQlFFSTHM/lQbnsytTbmXrG0sPPFVJGpQEtz42E87rPA/IOjOCVe9z0X5Ny0zL/u8b06sHtiqSNKnTdVLQzrlXvmGGHNUoGKXrNFVch8PgZyPsBfzOy1yC+youk3qAwceuN2vhiZIi/B/lURWVffdYiTjfi73YOsrXyIAzZ2EGFaS4VB7gqE208+NYo9YQbovO1cwXTZ4Rwa7k7K2naHRUIVwSfrDuFQC+D52Oblhh+O0sTgRTC4t55aKMEcsj3TdfXANsxpVHRWqZDWnGhEPOMwpP/dhZGr6c320b8LxAlyU+WoNOnS66+N45s89Ohxbuldb3TrEMOvCYdQ5QJHzXaRy0FiJ+wYTJjXIgGjQNtJTgd1FmHPA3JQTpaenijcvifN9vx33vC5qF1yEdXtiNSvO7fUdDm72m+EbO2CB0/wfSB1Ev0VkdOONDyfEOe2N68IACMNci92Y7v89FIQDz4fXEkCFevCIr9lFxhUt9FZeQAAtQrpxViXnWHK3SLPlaLlWKq3q/rGSPEWc+hTy5UCmfExvjzbmRn8OmTdZagoZPQ4lQ/zij+OdFWaow6dntKylguT/goBvgGlEMrRvLKOfLt3THVUR9Zhdb2qtZ+ImChfjXWHp6/as+zgoRYfaEu8lGOK13OH+xgwKVjQ4DtLTkCuHT1pHAihPcuWNanbWqpQIGe1jNRMJ5MpmXT0iJtzpOACi15qgEWrjNuvd4x+QQv0D5C3hS8qoMALDQKD6pKy3Srm2AqHT0i5GAyuOfbldlp6gyyrRkvb2FiuhUuM0CyFSlH+qgAjhCW+1bnIRZFBycPapxgTZ7CmIlHl5pohSKE0uDr1DMgWBOwXV+NutPSjTfgFlAVfa++Patm55B1AFJB1j4EfH5luHTWEINjDfO3kiU/bpxnz1QLxjc439u3HtujrNvOHBUEYenGhB4y9ka+OtPEoUxAXLzXmIuHqkcxeU6i9Af4IEceAA9URBP1egZsGvabWnHLkHkoR2Gdg/qz5Z2jiTzCCPUBKdWz7ZzrJdonapCsms4oOVFgPRTvequ+i4r6v57FZXJF4HZ+/yeK0q+5IGIdK1eLrRUSr+hvmLpL4Zd9a041juy4mRm02xPmgmjWhlt0xexywS8CfBfK7ZjvyM0jPAaCN63YIxLSHGh1iNZuW18jMSRU9wAdwSvheDQ+vxAa/I+VsrPf1DCUhZ5+4vJh19ov2LhYnl3DVJL0tCa3FwyjnTFFddvaoFHUMXgNObSIV7p5KhmIofswo16c83nPT3MmOMgREpFZr6yYCIEroU23UDdGgd8M8QWjKSWjDpaVAk4Vc7kIWkSaHsbobTf3JxFtOKYU/krCCeR0V1LN/yOTaYvxgGKKZOb4NHViZ5886myXRtBsNSiOY4u7d34SEcuYK8c/zWOJDyeWFCqpm/RaeCoK/T5D4NzbMFof1CB9OMPYuT46hEiNhTSKFyzRvXf9uc07Kz6CBPeRj1qwdQISVkZaVPX+MEL5wI1tnbj351TXnFdzgoGdLG28trPcaceuowQqy7VBraEGxmUrgX5weyyM5IwTfZbICqcFqr8EnsbYvJp3pH9kyQSFVEgOsOQvZA/s9MqlUWTn5K2pP+lMwm4j1E88K4R8dFrk7S34FGTfO/Sq3axIEVYqOfE1Q4TR0CPB8xv7hQ4Cnre9lZu2MOEMhizuE+hISXBhCLDoRuTMI3VOqt1WfsTEHnY/pcotvfvQ9qNNKpHWhMMRRyqCbWf9R/RPRNvMc/SvdUq1UdpkjcoyQWJ0wu/MX+tfewqUYxXmEZMe5kqujWNDwXh9gFQysPf/sQxNweL5VkAilMMt2tSBzxwxPSt0fNhmLSWu78rDsSVUo5mcssuapjpbyGZE29sCp+pKI8si7RnPwJJxO7Jk7ZS6MCv47qygkJXszUNXUg2xYsa9Agq/lc3MA2RRwZOgSrd6rNy9Li/N+iclDxlbc+bqSXiLumqWa6D1BBs4nJ+YbxDCYdQWSfLmdxYeFZkUPGUSezrAkqIwRFoDktXab54Ia3zWT2N+SJjdVF+NgHnMjSwpt3l9IHpdCr5gF6dKOef+UuD2pKjMt+bBC+2ckciJLe31e7GAGAR9yt4+2gBDsXXYxC6cwNZMYnwTzsUpYNqEvyVJqphF7XCVAOqHfZbmbvkIMYNHhoL2BvfA2A2wsGKiFeZBogL3kRYpg6QrKZcz56HMCSXrPDW9s5hozxEyB7tkkDT6gXqKy/hViMtXxaHNoEU3zITDlZv8NFEx+9gtqJJ4oAtr6n0rdbqo/hnrRm69m/trUoJZLuJZeVAEIhagwtuy4iRqJ5+pMXdDr4PvpRwlSkBTk6/khOBWBNFHqCfdTGzEPv6ywgYWHzMqf0bQ/6IhlK6xpFed5H3FEsHdZuTCXmfvsjIeaOPoG/nFVxoGXK6XZh4oZFHP8F47bRpS+sepOHoHpuD8Z28z9Vxagfv7TPOX4CZEyJ6WtJLWYZm3g9NdUWZHNeNIDzEZyxGNIw5z06siRaHP3j0sdnoh++mcN2wfSkF8n2pMZWvt3eOwqaunAEAcpjJkh1qApI9JCFnRFzvctFMkf8N+DQdqSkjHQx+ElP40O9MmlnpkFWSQnBVYpyerUyki/0aId0VEvFqIeuZZLZxqhJptRd3EDY5Fi8mUzX+ifanfirH6dUS0YX9JtnzAWyD0e9vwXQTvUUhQE3tyZYfgJ+HVD1VkMqj1wdhtMuCXBYXGnUWO5hCn1WPAbPtmMGL+Za7Fmn82STDoHFmqa6WdY4fb39mClVoka2LKt19fxdIZEAv8abMzmEIhZX5jPfMOUSWIQwplyEM/8io6YAc0PzAcJ5pS9zjBU4XA4ZJoxPMhte7sqH1YnPHC6jmFr4cfvVF6jHQNKG9IaGMTSck+tTreFLmmRbUh65SZlKQu3ECy1Tp2s6uoj08tg94DiD2oXd/2qM9yj0lVnc5yJ9EAAeD7B2I2BkV9iSGzT/2QMHrXQjRZhUTQwrg16kWuo3RE52L6GQ3eE4/983C0yxu83m4DPAFzhyirFeiprdjdckF3LQuUDuHM33O8Q59aEFCDMv03S6pEfPQc/qTXjP/zaiXN/mIooRP4GMZkXXFimT8VQ4VyZuiNy2x/+LeX+IWhG/2gEUrABbZKg0m9SKUifx0k6uiELwKKIFE7LoQ5hLfzs8kRYc3xLnWRJv1YfUZq2bYBfXElvmCWsRn2uIVw5mWbwfvYGFpicYXc/FuLwHiNsnAv2of2HNsTO4rzSMPZURn/lrxiC0BsFoqIHlGUOxMT2HqyM6ddM/uYW5MqBrAiYkUmej+O/kJ3rA1qcb7O1prejY8tBGDrVH0+uTEsdAWtnTuisDM3rT2TDUpTFZ9q+ybjx2D+9ErPs3zge3kjT+hAitW3ZGqCpGOy9MfUfN17kQuSHJAUxq4aYD0bT3F8zD7Fk4DR8fF+LO4W3pfKPH00VidODOEXEG7lpscBbzATJporw6vIRRPdWKhJ0vCbl1m36T3y13aA3MTYPhG5qL1ZrPXItsFQrWwj8FRZBtOZqthKlRydVEuaSGDKDlSbJ2cJ2bAuVTjpQ9n0q/taJnR37LF+cJPpWY7+7UEQUVdLv4IuXoeX3i8oHgFMPuns56umSidQAi+sGgwtvFsXLRaL18RS+nf6OkSmtN7EWD+DYlNCFR/lSXnUpjooaOJ1kD5Anlao5SRue3bFbEtjIz7RYi0QpaGmgOuTtWFOGhlLUhLxnNvkngrSpplyc23YZwV/lAj/YkDpT+5VZima1X4Cgb5XUqtggG4GAlV+Z53AbQ1W90rO8uOYARo/c3MYK2303JwsvdvKc7f23ICNZ7IChoBghYxmB/CR7qSMpyYsjZYwub7IvLgKYBRsUSdRh8YTN5r0xBKXJS8WNvzlAEESCqxYvFaoL1s1dwGWkO+tZJ/KlBjdtY3bJUpNaIwkmCMmoBlQLelcOWrszpDkO3D/hXPbzGn3FP7q4LTGl0SoGIp7GswBnVpy/LQzvuhrfF5TnYNEwqm6jEQSo5vEbRYUNblCTwkCzwddT0Vbbj3KohigB2dvJ5/IhrCCXDHJQusHmKn6FHsUFfV0WlQTAEtZaXxrYSwbBx0I0nZvw6dxon8Dyt/F/KbiFlrUJroJD+4vJwp6ptYILvbZWp97Ty2ozb2dpjhyDuKq9pfdKo/Rt6A79IOSy/f+dEmn7stydTlKv2/23gnWuyyfnaj1CODHjiICgouLIUGq1szzravfYUXHIdMg/XuCUlXI/+vT6/cErXH9AENFmOiLdi9yZfAePQDDGTong3c25KbIzilsIoQGzoQit3BFmtoh+sY/qjnwWwuip7g+dSyTuPCR1NZxAldbQjRb6RbO8jjt1bDAYCp8h+Juzy9aU2UlDmipDpIJ+nUDfakXybLfl7yr3EWPIYqMSe9SZPhKRz5G1VVhnZ+hI4Jc/+3pjmxEjzOScpfqaigOHsxy+uv71vK0uY9Sa1Eafu/bUu6hxP5OmKucI5op1DsoQzg7VZSbLXw/OoiHo0AOB3omCbcftSviHX8FEDXdwlhy6vOYiIjQoYM3CPEW4GIV8jngW1PlfUdTJFFUtuLiTAG4S1TQ3sCO5J7+lAO2AJVcqq9d0cJWCVGbTBkezf6vBEEzXk1RaO7uxcKcWRzANBIBCmfH+fys5riCikfSEwSEF1LwLxSdaEx8nv5ozyCIpSbah7dAj76nJMASi0Ch/ZWoCFxKaL4nNBrtWKFIhZZgVY1vXCJEGdSqY5IIXhky6shcJDGm/9beki9CiUsbIIS7mscr/8W4EpmJjXBlUhhhnIymKeiXxrPukuFrATlpeAx+YeMXH1G3xDTFkyGhELoeXq9QyUfr2Skjh8iAxSgpFPQQ8TI2yDsnVGm89CzEYldrWQJqKseBXl/CXKBc7jkoZT8pQ/f/JdgK7+/yErl5ofBVYT0G0CENd3RfVO/9s6OSHYXEObTCIOjI+ZhUnPuJy7fjgo/KJgg2sTSk+8OjTFALGL6jgwYRsgcCFLuZLlJb5Yz8Cyf/xb9IM1xZtuf1bTAnjsa9he+3D5dO6w20RzPoLQWHK2Aev1kuQXHOF3WsS5f/r6cbPZm/qlSTDh9iEfOd3qQKcxHAfGe1yi3Dy3IwEnyL6n+pRsfV4S2NTg1PDvUwY9dHwbh54wI00DPcIw9rYNYtCLtbP/FrwG1ChCf0lleml1+1RzQteQqPBpfxOoljOtnRG2RarowfAeN/jckQjyJ7I7ehbktbts61RyX4sgr9lCWv+a9hXh8T6ip/LfrwRxIDHOpUzFnG/iZDZdBzmPwJLP7wRtwC28/8buu97UwvJVjWLlJlvb9ZJUpDTAjYBR6YL2K6xi9cRe0VYxhoL6wUPZMjL07jQjxSwaSKrJLVgUYUvHReX/GyahhinzuFLo1eibkzJPq5FxdvO/jPReg0XV/YQCAGrsNXTWrM9ZinCA3CYv5XgqgT1ZbrkrM1IMQvBJfmlIpF0XhyQ/C45chwtYq4LgPhkp5uudLETnNmlaWSkHxUQyHnMHWoPMEHOpWHlnWvR6DPLyx+FDk7MjTw9gxoe1hD992mgmGWAPszq8UPwP5nRniHjSN2hxoF7bfwxsJEKQP1924EF3n+zRo/s2LcOcKffhs2tHVxri2RATfnIX1qoDD97+dfJCAF8goYnq6OEOiYEHV0BfEbcFnpqhkW2ybMrFtkBahyY55Lj133Wnd6l37CAocV33XcQufDcPdFk7YU31bzdpgfa6c44eHgVDyO04ot+FfgzoX/JAOGwc++hFSYZgVhKSu/hPjE+5GbVkx2Mp8IM90VrcoskPnr5PWWN65TtcmMQm0MsrtvkfJ41rnn5s6ETsfWljff9RWaukAmFiXybrEJaWjqWGvTjiwDarBfoemxc2ri3vEJBT9Lju74t14e4yxYahC8UOyhkhR5NXEkP9KWZoq0/wfum5POcIPH9q0IpdaNV9zCs60bF8wmG6pVTc8fusXQ6CirczqPMWqplxusTjTM0h/DPEwNYVzSJ0CKel9wNXvhJ964hCLeQUvRTsm/hJG2tGlb8mmw5EPiQYcTtt6PId08SS+CFjG7RZJ+M+zGqqa/0oSU5x1y+kHG9mqT0RphjzaTS5gQMoLzvZqZdpqWNXkL2IgA6xNoRWJkKyW5SQdu6VuBhH5W4NTcqLu0EdzrLiU3MJm4fTxAilwOXOSS+NnTQl2lTv/clXcMJFC4CVLNfkBaYCNFc/SKTrcDXH/ahVR81GDwJiLfKgekgSvlw0YRgnRM8sHuPzTsvfgI70M3Jod+kRZ0lG+3JCtpx8zi+DvCIaDuMQiPWElPXUsCcsgIpSTQ4utdCesfFqjBilBiJLEBttZGGKpgcpyAcQhYajCw6EWmDxnxufJWxGyJV9z+2O+ClKSB9SVGgbcpo8n5Xvw1Wfr4Fj9Cuz90ktqmndMQ4P5kgG8JiakiZ1MJmxWFe4IDjDX8bXdjU7T9vFEhITHFnEn3izm1lB/jqx9e598jIoj1t/EmVPmRi0amTJKvf6Dt1sU8saxPOMd7ei/ynr5lhfc3EoUtSSVigATPkoeVG+cwViqWqyF0OCOdfqa+HLZVdxD5wtiDjp1IxYBvAVQnGNxBKFtzYcWQg/friLDS8UU6Sa4Z4CTOqbiJZnHSDPSB4gR22dgxPRtH3mTBUWIvhKTxwKVwKi2MRZhwvjTlgWSeJxtLIb4Ox1KjcB9OLsiG0rrmfd0weAceWyVGte28mQ+0+VoHaAivFsYjq73BzaFGaXCIaUmi/U/8lcZEkWIqOWRcAXZ2s+IA0m6Ob3ngm0WB8bcHGQuyJiz3Xf7TGwodA2+SO3RepYKr5Uzuv23x1tTFbnvUpifomIRs//XHXcjyWxaOL0vv+Tkinddyzac6coifZVN3xNglPBdPu1m6qwD6k7/sWbO724pIyfFWEJSWIUvmKE/SwhKmd7GovhTcNyEJudmo2+9BxPEYhaA/z9WJIgE9tmygB9oRekupg9h5fujUwFZPWFsLJu3hYgQBCF+V1KZtlrG4gGv4F8WGh45v4CBQwfQG0wecb29igccg2sffcfqP/K2HuKfJA4gnGrUKT0/EmA3Y+9xDPCzowBIefts0EFr3NTalBwOexkvT8M4RY+fCIZN++H3DuVzB5XogIOCB4o/20gcpMm3LZblutJivE3kNEyUM6yX4U6ytg508VY4rTO0UR76VhkVMXJ46x6IDyFQMRpkjBBukhHWO8G9AG68EohA1anNzYeAOWmOUam4ymVo8aL/9x1S1cvnfNeoKa2GSN59OxnV+0A3jPzX9c0yba5OvgOlR6yGewHrW7wLF3aLltM64qXbMdFx9/ezKN4LNY6HuVDzHqdeudRKvM0l0ayapgEUVEzVgGF/35AdpFBYamc+1jJ96Y7rJeJQqzvSTpIspvUqzL2V6JNckPZ5toHtpKxDGDiVDtx8QJV9+B863gjz7HQVjux9UF4qL7yaHhYeICjhZ91DaJrm7Kt6DXMIfdYdOPBEcXgfK2B7CsJNJgYHjgfrOEeXNryMm0dS4yltRGsYguboce15XkbiTsSqE63HxexeKne/nyVPYzX/7oxIYfSXNgVqY6QDWYxRNjVpXvtF3oK4TfsUeNK3koHtcb7XvoeibQWvXAyCORhe9mub9e8EWvgotdju0Ql5SM9fzAIuZx46SiMRJC2RcFlTlHVQwYb8XRUL5wFnXXCN1EPHp5GbglNNJYBrzIPAx4RPru9ahSbfRagimgW2Dnmxu+lq52DSMD04ajTT6qN1IWktPuaIPgHaVaSpqeOO5jpQVskJ7FV3ZrXAzCjyZJoDUtxeUWbZ5sVps7wUbIbvbq+/VSrmo0SxLKmghBOfkbqiQe+9CsxUNe+eQEvG30VxLEpBM+NxQj7tbN41NIQ6HUxqV2L4y2wzvma56+WoyGOrZRkQHwDqbO2NLCqEshQgBgle4g7B59Gq8Py3zhyMzS/3ieQY6wLAY3IqeRnjK2QYidMqP47iN4ZZxvhP6jvHOAhDrLXVoHsZYkzsOvsv3mY/77UHO7uICKgHRtAmiqQGi1EfI342c9/PJXloDFlkKjUe8Ow7B/3ZDpX5lEpBbUNBjKL+ONGQSc6Rn94Shknj8lLNhZ+ae02mwVD/7xCAWgr21kjcBA5LP/8+XyP6lDpdyZXm5O80OFLDL28Mw03JIQlntxwI7i9IZ6FOKQ47epIIdqilOXN/LtgfxYSNviuQjUla9elcNlU67XFBi86JpHucv3W2h3PUM6yxjE1fGlXGA0fYd/kILQuxZbMZJzrvTGkCuUqUmrD1W61waOWExl+sLqaBsFqE42S4FYR/REC1v+7+mXSfrVjJAZVhxBcySsQauEP1YtaFcJ36zOFv2QfT3vG/2Ka4hWUfmZqwJboashmnuE6iR4mLqF+YLdIHbG2if8P6kn4p/shLoY7FOKIlQpTtAgXlTKPxx7PYcdG8mnDoEAiGk+I0C83TVSG6mR7uQSvrFenVm7LTtS1hdYaqPwfKBCPz26BgTjqpzw+vGa7UwMgIvTC5oqSGrW+626FAeGsNDQWf09KU2H4/+AGceFGalj2ce4GyWDc/NUWSmwY7hzPERHvgxUR2xR1K+fWQ63B4x9JvS4H8G8GPZf6BLcDzM6AlReeabvbc45BsFDHUgZcrRmwi4sPCfLfnEVMSVfgrr8ay0egpVfQF6w3j1F10WyWod/Tz1mYfiapqOfXOT+IpjPDLEkLHwucQUdZzZOYJZC6l/ZggNClFjhkL+C6f+G65EyP0AeUD5Tx0m3eV1V6tAajaEBmg2omZzQphQtJUj80Bfbrc7Q8joXp2Bd6Xij8JGd+Z+cfEp0ahIWtfOmICgfVNP4YTvhee//xilPdOlBGGgsGo1evO+GkSd0zRUluZl9peHPOXagUu65GLy75yEulMp5ojR9OGpk4i1lEFcDXV0MWc1hS522/+bdMBnIEkS+ftPEbovoy+fJl7g0BLPOCaPEqEwwof/qAfEy+dyUlQsKR3q1XzNxvZTQLbweQcsAZdo1bWZWfdWPyPXaR/9B3czMHoCyDqF84DDxYql0VUQ8Lvm2x85po1V8W586hR1MWttENXCPyg3zfJKoeB+3YzrQaUmHchpaHOCth66OJu9+rrAjNJ4pZ849HkyAMdfJUAWuKl6Aahyr/2l61UwKQWKYn2p+mpTTxWizmLCuzufnGNbrfl+1+eDaMSt2G44H5cI/2+5GkfuGiRBWzZlbSkLqRotYGB5Po+YfNVqOWwuB00v/uOpH3V3M/XmGAfma5DzCdhnRfDKuJM5S0QgHVmcMjccFCGSoJHCnrvHoykrsWaWRd5Kishq9NUoq6qmCkPxrgcElE9S3S3z34/CjRYQP2Y0+01pmosBsFFjSJAZ65dYcO5m1L9kCLxHt33HbEUic3It2JLh+8DPZHPp7FRlOU0PyvCwlehe5NMcR5si6Wc41Ce9NEA6r43czZOWJwlNijg8n5JmAFy5TCtlsJfpTyrkJF6STDAQKTbv1D4CSzfXgGKEWLhZeu80QnuD5+fEvxZzEXhlZ+qPG4x1FvfTWBmA6FslL8uDnfj+njad4zjlKHjyb1Qdv/uKNTMjZCGC6GjtzrucVOB6n8MALk4Bmf0SEK8J3GKKBttVgTSj7qJodUbTGNnwcQi+6kAGTITH4vToW8qZPNRY1FWIKN4G5enYqIsltUzDtTTzrRuNr7P56D7aQUcTLS2wrn3PF5qi6kqxeVRxZK4YA1M3HF4wbvNGBcsycvaeErJd6+uwPWwno6H4GZQeHhIq5/cH/7vwFrR+8AH+O28dvDt88XBTuNuK85sRzMpEJtL+KVnOMopwejnEnVfw7bvsLKVLqomaIluWYLlJtOz1jZowRIMcYU9gHwkzNpSq0s/DZqP2bSOCkDhyoCPfri55M7xfxxy38xgzPiySiig/D/iENU3yifxEWb9YJJvDrp9HMDP+5jj8aO5U1gb961+Hk7q9anNQqHXJdv8ZybofknrVPJ+KCpKt65+HUlSs4Y0jjcSUk+A3bd3kLeeVoonYTQ/ko/rbFcaoli6xHYBQB/ZgmIbGwIVnSQjnZzM8kUpcNLEuQEa8K/gDz/CjrHKbUUeIzGdJF0lGmJ+K1DPE4zJeQA4lB/iY11m5b+4RVkqeld7+zAENjmyckW1922t1oyRDHdCkr/cQHjstPWjKfP/8bhTqChvOF4iBxzXlX1bWpEyTYo1iwECNwdrp2P7EIPEC7iuSTgaSiBLyK6NV83OyIlWIPxktQBVtbQjDO5gdERTyIBW0dffXrARqmFlvDxgXXKZUsx0k3brIzCpBo5zPpXl4P3xdGMco3VG+Dy5b6swpV3+9ZYqL4e4RU5sLKnV2vmWqoXYueBT0r0D7Ozlb2bdwb3m4aFfBbFtfIaPxX8to7nnldBbA11NK+STih9s18PHZHvhcoSGRlUiWYTP1chrvwKd3570M5kbvXzFnaq5jqgNezFSlUlB1384o53kQo9H8B30iQOobbSqhdwPN8DGl281Ram7aWgvTMcSaztG6mXt95fHNkKLKY5LzkR/IYcdgUh+SbWf8wStCMJ8TciQtOu2y6Fx+gViCWzFiv/V1hfXMV4ImglucdZM+u1WJEdLHABmtRiitgXKJ4CCS7EWbqgFjZ5+0j7ukVcSnYgSm7r12uNiSEtIJCI0uKy7qohALJa+sSKBoVlQ72IMgFt/G4qotEbG6BRoxrgr1Z+Iy6bvOC5w2qfewofMvQ5oh50RzkHJnbEKFKG2tM5r5Pbp/FgAQe3Eq0ObxInbhL5evRCaGQ6FT9q19YwKXVZ3tM3nk2kFlIbL3rRbBa4WONsCKIGpYh/V8TxmPQEdabF+E4nSZh86WrkxzElL5sVLKkQRSiCgpnBtvoMszMifvmXheAwSm3/DJLA1gL7t4/dKPo09fV2SC3f9ZrM41ZMcpy/FYWkfRCEExmJ7y17j2iRBU45BFT+gY8N1a1OaxIo1ZVO/Cw+npUH7H/wNkixTX8I3fv268cGbCfZloC1mzqJVytS6H9acVU6VwHCVk4IC/sla4jcMynqawT6BcUL4QVcOUZjIn8oqb7Q+ccgGw12ErfsPjj+XUHcu+xuHRqHala2vbGWFz6qNuqd4hUehILB1+1IeAtBapkRitQT1UKSmjHTxt67b5IfzmH6MQZPpYyWe77UQiBM2GN6UBeIy8NV3Ch2TPtbQq+sbGRLFFsfTsZ9s/Em6nPH1z3rw5TkF+rsLJ/3JcwGwiR2Heg90xJODaLO/tDP7vhYeXtTa7tymIYYyRkJvnPtN5zOnBcvUgxVb6RiNcgV3CvtjLBeUQ0TfyJ0h+WWnp8stNP2r76EzsNby0MfCqFz9xRvWE9dnnhl0x9R/GOxOc7snAb9sgWwu+ZMz2VRD4YgdIo9aYpZDx6tmUHkv9ec8iMHOrUcB1C/+DRrf9kdE9J07CVbY/HhMS1dxX0+JipTYkjV8NZXdztnaC0c1nLwL5TDXWJSDRxMN4N0nKHgO3ymG/h08tkXOMfB0XmYSDYoQYwpBNSPRlwQ5NMddihc48vN/fNk2t9rXWPRd9WZldn2IhrEKh3tURbGEMNideuQRSYx+YnDhwOvVcaXpTiupg4OmFG8Md14uTgQnnNU6waD2owhtHvkrGGTiPxOerji8Y6aicYlrYmGzWNEP6lYatLHT+LrUtRXvnfQ3ZCgKyPJzCy7TgLFWdHUIsdQGHssehSW4CJD5tu1K/igIroMHrQpX35nsnO3Rsny5eUb3351nD+FJQhX2DC+aSgzWB6vnBimKw+KxaRqVCgGTaXHEkwsFmkuVGmTz2zSC6pBGOjxR+2ui6kdBcbihqQ3sVrLHm3letMBqtpnZedniXzMM7Fbx1NP4lJhFTdWfU1Qbja9PUFc4w7J2l+7YYM+XoXwLUR88Yw07ODFMgSoasoGX0nA3lXAuFeaGh59Ort+Mvw11bqPSSwR+ecM7FVE1ueKyL/qBMofepkFcw+DMMmtXzLfU//JsROcgAmPUHeleM2cGUbLVGhOK1JUMqHHgiej2fm/4rcmQCT9UtbJW/Y8rLyTbniQ2UzyFchGQm6FALwdfePTNo5H1vDDYZ10skCIpGYrcxWFhIGKbmPX0Fob2MFdlNslfMbpd+3SQRKYZ0FMoOIvhXYf+llWaX9Wwo5ApQnDUkfdzab3LV2JXsYw7FtrZDxdC5VeGxAOE3q6lQCzOOu+nrHNGe6UuTTZU0kUqmaj5JsawFgwu2zcjg53jo/KjfdYUQRTj8Pvq00G0f26zpRRk25ezzCsMEhTBg2Z1kbhyYPZMbQQICSe2y4rEx6QONKQeSk93FZJryDjkF+4TIEW7DrGQi1TZniH+NDcnwvmt/nYSjW22HAtO0z9aY5Ex6C0JtcmRfPi4FK8YvbpUIsPW96aPdGO4a4WeDNWf60s7JSkmosNs8Qx+Hph+JkxVNFcm3fNSYSKi/+fxzPyWD1PbV3HSwdDQYbiteW1Cme7jQvxa/7hGATSg+AzK7WSInby2iJ4NmINHAfzXQFHEMCYVpgHmj23owuM2Aqsts6D9S1TXtIKCoPpwTeENFgu2mOWsl/jgPcmupsmpfUySVdSYXFC3jC4gbDR2kup3vQgDooG3HeY2Q03J+2IUCA46qmG5LjfOAP80OO+mKwbA0MSdcE/d54l9HeEuyRbgDkXpyCgLXdsnCD+Y8d6bpFShuUqQurL9DsWeLVv3YCWKpbKuRwBAbJiJPHpTHf9AnFNrh8WAmBC8+NiWke8BntQvHADF2hNZ4yYqA7TMyF9zLjXFRodsGjXllNDm5ibEXYf7vaYwPA9POEhT/kmX+q4EEVUAmUH2/1kaYrtqF2oCnTx8fcIHJiFD+a/vtmzQnH7fGO+EGCJSfW+TbhJt9kmmCfKZ6LICJ9/Xbti8T2olmCKFPTIuFkt7mqOEOOKRomK4GDYfsIjGTtUnPXVFXKRQpJKOndyW4WD4tBEcRvK2S6Oi7yi/dspPOoerSn68Nt88r1nT7U7pyDIYjv6RUBafq7GO8JTbZYlTLoKgjysY/CiT6ZYZuIwJGusASk4K0u7lnwmPmwXgQWZPvKct3bqOLASUy6qoMtBIeJgyRw5YxUwoZyZnPPm1ZWViNyTSfpqvtAUbTX5P8vvSOud3iA9w8/b/8HiPTPsOL9JczygItCn4Gj3MZlItxllh39s05j53pthCklnA7P8SwzkyRojeldPu5KGivfyJNr209unaQezCOa9ueI8j+KmruND1JfkHofGyzE5LC+RpisCOIA+86tnH66jQFK0l7sT8ftMqX+bFyjT6YkusHS15ORqMWb9XuxnutwZCUSUqCoa1iwMlKq3NcEC8bkYY5GpB9FXw0Kcok/JmqJpb4xBvGlps5rUH2iq6Nd2fQNwg/qOKPEl7aFT9ZnwuUoIB/EaeGzN45DWJ/VJ5w6VQXdhrAaDCou3fksRQzVWighQW09Pq1xJ/0js9Dp45OXZmtFR4TavtLCgjqgX3RU/ZrexSlYbQvMg1Zluyyoo+x6AsvnZ0BuF7+6un7NfnEggsYJAwlvDMGU1gE+zX18n1JfTJR8RAO8hofPQaNA4OyIFKWZ+JxwBq3WjpCOJL2UwLEmpvsK0SY4fvkuXybZUQNPV8dzBNgpb+V5gM3B665tnCbgRG+zpQ5rnQhJrZhx87jMeulebtyzCnGzZ67+HtiIenV1TngTEkD/nGfS+4/ib4vzmgwbyc2NQlBQkQyALfVWLYhf4xdKbOu1HxewBv6Ca1a9Xp/CWpHVDtMEJ7k8AuK+wIPc2O4hJjF3MXjKufPwhc1EN+qmI2OjKfIQvc0wXsIEWeWKl0S3Fw8UAOz00hHnmRq4+zboZy5rTOWW+fFQQCzznydtd64WEX/wyNjisIOuGo3fJgO7UBWIPht6NY48/PGGBSDMaxgrepwxw2K6veLcrtQ8RMxqy6HhbUgVwVuIFg+qhcPfjfCLc2RlyZovQChEy6658BKglcOWYhz6A2PjfUJby9j80i79LjEGJokpAccTwVCm/8TvXxoBtjZ+8k4/onSUldnXHHMXR8TRHrBVx7WK/QsC5vXQCzY1KmqSClZWxgPom99p9frbtknEbuClxqCMmc4ZixB9Ov2eGGRYxD2qkKY0t/2/LLhCQrGdFVf3SfMWg9bU0jQhIged79WupLHlHH5emjvfm9kEmwO1ccTIu3+6LV00aq90yBwZTaqiC8/UBjzbssccr5ad45fi59IwY2KPv68HHaNmQLJObdKC3fwxZIh4l+EyMzznCQYIehPrQamw8JvzkWqypDJswPrgNq7qPVqi9A+8FkzGFJRyahsbEEBe+GmlCfRbs7XixKRutw5g7oXccuF8dXeZfrlLtNTSX7OyFlJmTqA/W3vSzIvddCMZ08oO02LMEqTBdCaYmvvp7mh5cbjo5+1hqJ8+wDdoYsE7u3XyV+cbw2uYTv0ANbHAlZRuAiqqj4RsoQvHmJ8xOM4NBuMUg3FSWEcElprW6buS3MNfGYLYwjQ3kDEwQ9Thj1Yp6ceiJ3srftHvHEN6TXFw+PXSPgEMegnQLxUHHK2Ow4vtAsJ28/ixorYw1FKjlCLvc0YzlVeeehG3++Y/q4n/stW0UlSMEpCmtfm2vzPJlW5CYyPbFTs7SbHK2SbiGgTNmYT5K9UP5n5gVSb2NISku+gePdng9Yrjk9Y97SfpG0pWcGIUu7urcPQUTffv5u3a/HNyaIMNuJbjc+8Eqc7bVn0MLwAtD68PIcWYLn+OmTYYUurg1/1W3z8uHTZyjjkossoZU/w/6Pji+Sht5xQRKJIsACMG0aClB5TVMkZ2Gm7tEseE9BEpkyc2N/xYqX76tZHcwGuwHOdSbnnGdvl6DH3RPZO/OH3uu7kh4lFvTYuCPVgma564MrHnPqYj/JUetnj/bYhFO11JtQUZ4GcLZB95CZis0QNpYFDYtyr0KrTU/DKCSOVrcm6M+HjB5JK8ZRcB0ciqP+ncs4Cv2yuqbk5vsqGi+/9YJnO4nJp6gobM1FavDBD2kvnPquJPFB6xHch2H7VpiJxgE1hsUfZQb+nCka2I8yt/MG9IDvGbREc1Iaymu+0Cyj9W5mKbOKJx+rLboNMmzt/UenxICIAoafqYzzvLDOyeC2TPogn4jVBDH+1pdGWUhAK5WHdu7KuemMj9XJqsS6cfcF8mt9pU4kdx8DxBn6kEfWUGFLu1XX6TF7iGQS+cfTkRqV7o3W01OxIYrsqMfyQdkWPsB0QNYMvOVGzEGuInaWwRIzid3Sqt78NVN1z06ROuRcq7CLBsdJvKsYTnEdg2Ayy+kPKVrG/q3sKvFr1SaU8sBows2unaGLvMJf/fKgOtH+ES4TEKsGRTbIom7jocf7udU4rrCIdCu6O6oDWTX5Zab22mB3F0jiveMFp/FTpZoAzCymmijAH3bBu9fDHo0bAF3VyOPtydd36SkuYPRYnOqpu7JCMHe2evDAlBUL68NX/L0++9iRCRsY6W9VBoykckK7wJK9wLEhOZhX1oHef2GyKOphcpEu4Ose4BiXtvgAvzpv2hF3/nGyLQaaE0lYDEGdiDmZM2UMM0VGR45mvUyDoNcXOS4WkD4Lh2ovKhVlRl9UT/6KPixpw/sr+oyl2jocRD+jnepD7gXwzB8XIjXL8Uy504k8e0JCl+hG+zsKoHwgDP6h1hdv/qbawcfc8PZhs12hpG2zQP1Y8MIqhr66xz3lB3O3wVqThOeDwD/KgiPbYavnhfNT5vf+5MjW6wOwbRBNTxVa/7oe1qGz+51YylRR7fpYQf6TREPVs/RvRoI5jUPO/AdnFXnF2KfcSeW0nLA48R8i9KURee75OHmPpurci9qfLr6MxyR/AmCc+9fNqxOKiOuh4OxsIk98qpZsAlWEGqANBYN/fylPtAz1yT7gmip5X2m1mo74VWOG7qRfhacATapqBDmrncCYoeNEoY8CT9m0p3mxPxiE8e+iDXBcTSxqNOjDvi01R7gLbeU53XsCiDncCydW/il0QaW5FJ69+MvX7N4YiPyQ3u1QN5fEsSpPKCCPJj4q8L6FbvyTi576mHUjy1neCKTFGbbevernDvEddPhEk3zl/bPswbBhIUIgvLpNRAmzAQ2u4rj9i/UY3VAFPOCgsj9qkF1z3k2t/wnK+/QbqxxxpqzVMCJGzBjMBs/EpfPmzaRJSocVvOXgcxnm+ybXdzstvNTq9saLjvZVDmbXUABdWRnLS0EkFvIaY/gwF16Ts2dxGNVKLmrBpJeRr4xuJCzC0jMYiQ0RRORTuw5EX+8HAkUS34QYuQ5nuhfCkuauJ8cuOU8g+QASK8pdWCOPVLP0vpEg+XycSulSgBAh0RsxUA/zP0tnky4uOVKLZCDWnRpDzWuKJOvxOiYQMoNZL/YImVgh3WzRevt3PR2SnkqolqChDNfqd6Zr7FbzskevXOMKq+71VBrw2YtdUeOu1Yjuhlk/792U2/ENzmktxk0Mz7hlgArtA12ygqO32kNYZHBPA8tNCTH6+HjVDuSpTK2s2GQgA+5bgBTpnM6Dkz45AaTAQNDpLPylOorGocQLTK+rd1FUVFiQTAP8rAJ7461mnx9hb9OoReSN7uwJlN6psxG/az6/wy9gNh87Mcq3BHeB9RM0904SMjsVT/Tzd4XT0wXbYk8kqwfnoYztgUCWCH7p4X6/6AEz5LjZhMDVzoOuWyOTl5S4UTklP8Av3af6QTYVYgFaDf2ZhKdbjKvqKVwEZ46+AtPQPbSeGG+bhWyv7/G+lXW4m8RXoOx/+BLLLBsjXPyWFC77x4ipmZqzhVdy8c+SSxqv5G5QjqXs78bpfHBLuPcgyTlyAmUWNlhWFRWjDd7N9XD8nZLQ7VDXIR/q23MD1d12vNX/3Lyfd+Zw3IBmdIU+w2scFwVoHfHCDMOovMhJVWCCPqMQIT5iBzUugKHFWapmCosyOvz3TK2zZJ/GIRE+QDPzl5yHmVDdcWM7GUNzJoTRj3FTugQVMAr0HvaoufVcmdsF+FzUTcYOQxQ7alCTi/TZbRqBHfsCJhI2UCVCdJeS56vHrXretx/8Mh3jlR7ErU1VRTnsv8IC0NOrrxmgO0ZjFF5xEwrfr3uWcHaosietWegKrmJwtCU4GxoAG3Hw4pyUgqbp/et8MPu/4jaL/oi8ET0VIdeM7IR6PvQART/cv5EU1NLJvp+2V1gFLfSo8We1uGhe36lcDljlEo+RiInOx8Whxw0DrmxibFHglJkhKCNEuzpaSoWwgc5QszTSFWeGJWGzYDSnlOPlTq5XNLRFql1008WlRAnLgDSbvSxiafSOW0UAjMPmRZrDGKBbeFuc50bV1Ivl18mR2qHVLx3jl47iyZDE1NTlKNXXkvNEEYQWdstzIZbSJR590sa0dxCPeCwbSMdk6aXj8WiGKbJt6lGGnTmtEE8BgQb3heErIQZKo0xNy/WYCG6VkNyb6Rc5fMaSDoejiFI2u2eancMP3jQVRTJxdfcaRRM7FdBxnZ/FulydLsGbGOSHLKNHZqu5B8UTQYm5WA0kHBUQyF2+5AG8t+My2ww/YTXcLN+d7c6I+S6ffhftTu1aM3341/bQCDN9uO6nOb8+SwCCMox/Uk5Do06klnK0UjwvVg8deqZgeJdE5JIQ2bmdt0K+XglbgH9LhHBKkrD0LU0zTEefbvThSX96fUysanRqTgE/u18iLT7xUv9wT7UTBW6gcJm0r9NBIQTYCS6Npgb299BSFOe23cd+n0u+QUydyGKj02poHNKgZxbkXcG3BMLkUCaVe01He3q3mDU5cDEO7W98ziZh4SibpKz06O0wQULsSgqqeGfPcibanj++ot0EUqjW5xebhMGEbLPlo+TcotQGoImgducLwo9R2gPP8s6IHxtd1xG5M7d/NFGOpDC6Sp4abj8Rx88tZKEeyPACojo3MPrqv7I70buXslDi6qG3j+rnnE7BekKSp//Wizoclpqu4QA6XkxYYCDsPMxr4ErZi1ogjl8GrZqOLDlJ2uCI5Sm0q0q589qqrMrGfTW4Z9sNLeTGR9zn9+T57AE4gPOnYhv53nMXgFpTdhCElcOnMCwVt8BAYVThm2PkFxyL6FRvCfS/Vvt5+Mul9HwlPE87euW1TQHekHUMSs+32/m1pBXn6N8vI0jq3TV8Cm3YLhHdQIu7ExDKv/eOgiNluO9582r6bfV7Nj9UlKY6Zq7zXz0qKQN7t1jJUr1HMvMUvJ2Nks8Ikxobb6U+oUM/kPOAnkELRcCzKv/959BfpWXAtLiOzKmiLy3PZt51voUxpMgfTJwaD/eci20Bd5vyGCNa4N0HwwEFkXi+k15DJ1Nruy7z1VfXw+fxN6Zm+8MIdZyYnZQNa4A/NwzTOoFkqT/w530kN+/bbBAkezMXKZvmEOu6rfaAz+OyQVhn8oWyhqOvOO6Sgd4IQgyVx6NILSoVi5aBctGWUBP515rEpk/5PGV3NPHiG08bnIjDmefVF2FY4qS/K9ZfQHQxWwMyLvAUDFF977CTdB/VcNgRKKwNlfkeFoHPb4kJDFv/33+HoDFeVE2UlwN+X2tFUC+8On7+z1uo0fjvSiUhaBeFFIR3Oyoh6roRH5VDGMpgixDOwRRlu5OCs/SEXZE9Pl4BIObNgnW+MV+w6FB6QdKxppgl0a3+NPwnQKXJHa4SV4nB7IYjgUEtrha9EqsoGbjfwVMCHiU3CPJkRCk9c7Ps1aJBJXYA/rQNi8p99kTrrIpOZeW63XUmnPT5px69ky/HkvcUNU5kMMRNwJ5EgStP/RKTKHrgDelleC6qU9ASUam5/XUUG0R1Pbw7K59+E7SMvZSu0ZkBkAnnUwr+wopsTei3Fk4PrHJHqOZyHHiNCjsdu4NgZzB46sgZNP0G8hofh35fhr8trA2v/AErt6cVf9Sf49jmViR4R7McKadLhnKNfXeSM3PQ+2LbAtLACJtEj2W9Hdii2wl5Itoa8lbAWW942Np4v+DwU5UNWRgMqexHd+p/coCrP0+frg3IMY6iQFatnf/PcVmUMssjI40B6vxuMqyxK9ToghDPaSUOKHK7uG74A+ZfQkjBCR2TLWT97fG1GUc+2sQH0/O19qmnoxXAXQcsrLTrQLLLoXP4IqJkazmIMA8NojhxK8NCNisnjLeCbrvJwW5sCv8rLIALQCgS2HHgfrbhTgqOJzFUYeMO2fxKhGF+NVVnoII4cKRxlWGY5Z8rfSt+P5dVRCK0ZVcX3vlOGP0qr+FA3WubRutLuvEKNheQr4H9JS3dIbL7hspzIX/ECVkyOw61d/MdKs7755HtggFzIFDOhjLaqpAVOlEDv39QdZi05GtKDctwmhsNog30av9+It9dVtt3w1+Rc9nXKPl87rgfO3AwzrE+U0edDJE93v6dTm3KXUfePLHA+dPgxjCB1xw3rnOWpKgxqD25io+BAHv9iV/EaOFI/Sfnkrpukp4a4PsIx6e10Rbbk3brPnDV8cW/xSGIiCbX00PrsXJgu92+/JwIOw0oAhRaKO5feXPfZv4qUVdUdCbZTmBWvZOsgmqG9oMzr/pGz4L6qxyTdaGz3IjRmot0KPOBYrjwla6jU/gPwX8xTFsgnXsyQjtNctsJXAOW2yqLLhwxw2am+bMQUzLvkWDeR7sbFlDXARq2M7kgh5lCckMhNwrrII2zTiwDpwj4dBVXDSgtAHPqx8HHtkoMIL0lwnrv4b6DpYCp44bZyc2BWHbJKWXsigi5OGrGHcxqEVC8qLpihbJHnsb35FEduyQwUlQCC27jsBitPJ76NT0JopB3exEwxN/kpIYHlJhxA3SushnhmjoTthSIjDf4LKkWPS9IJTVumftc5OgCiJVecWlRzBsXAYyK0BZ72C9RVRUIdRgZJw0C9QGkc3aX4OH6qmu2MVuJbbuu/Pz6VrHagck4hfSYjuauyuZFAOVjZuqhnOYYV64jA7blssGGdJLsNbD/Y7FGUemSrSTUPeOh/hve4YjyoaAoeFsyNIpy4GrSOyjkLaGCvnrrcdYmfjSeFk8YWLXFPYI+hGSFv4boOLuteRl2ebfZksZhR5eTUVgbYGr9y2abUzJO4lZyfRDWJYHFXEnZzn/ujLk0z/xKE7uFDNcDmjG7OFFtu/Kl6J55FOvPpePICtBEOaKXd60VXTFxQ/gxHdWTY7W+Q+IsU87MPug4tkx5tG5XkX2vie3nSwXxNjjrmmXL6x4/K3cbUlgyk6rDTd+gK9ujalI7LK8QYUVdmoKz2CbATmBVI/OzfclvgUpm8G6l3UqV9TSemDUUmswldORu0unEtk+abq6SVtoMy5m/l/svkXn6UtIOLb2pP4Sad53NXcVapXsfM3IxW7eytY5tAjpvoMoFW5oBgYkwMmckOIv6vuS2WUzR6eglN99QAWQKOmn8gvDX0wHxzdn0hNC50mwChXzFZzpKCbsumRMjAC6mGQHFZ1RsTA3THZwDyeAFDS6KMW1aCfMwPKfBhv4msNM22q6o4GjcYpDAHOuze5FDuiIVPm8zK3AELeEYVsUMLRMJNd++hfl6YDQMORvH1mWSuuGxfdlmzs81EFsS0I8DtCJ+dzg53vK2qGd/rld5NTWMTenmMrYJqciLEMjZVwTCRPHLNABNOnJLyFadQdsg4/MKS4TwMgpiJwjtmkNTXqF7Xam/kPJ6vBYZGQ93dMBAvju61F9VOaH5XEsduV5dP7oh0wR7FxqNYfRMFYjk/ZGXPVAdEPSVxtTVa+3Wp+mQcrB2doEwZvERR1z1XpwhQdRVAAm6IHXuVoWEiHrsDOywNuMsE47/EstBokIDfR7kf5qyHn1wNZNUEcA+OHCasqFdMUsITpC3qKFR+iVkI0cK/LOA6GX4rlpnxfDqy//Nr6xjuNqv6YEvBOJQODfqJp4DrLCA0ha9K0R0qyTnetcDWYok4B+rZj7Qsxr2UD67NjbLJMYy2jQhVZqkLAIBj1c54Fl43CEBwvwrhZqWel9EaBi+lufvgoV4z09iEeZ2jIOiHHf9GZxWov9Exi1Ihw5O6XbY/XI+JlF1MGHgwbeKytqyHDjG/OD99AiTZnvzFBxPGEi03m2RZ1theFHU8Fa4nnDltjyKFJixiH0nLGNG9457pYTxYs+8S5pUi8hs3Iu+mHjmumHF3rfDDIAmKdq3yhLbm6tCxvu6M8rlcLFiyRuph0F7/9EDIaH68br4+6JniHO8WKTQZN8ipH4reMPRrTSTEH5OvA87M7xAEzA41hiK1pv96yiC+mxCswUAGAvYjacd8YVShTeCVyDd7GxSM50L9AdmbSe55d8wZpyzxYq9FVd5rjlL4qa4mWXsHDFGqGekizcQfTWKvFrOgvxwOFJvFdq/Ll8dq1Gzta+1RchXkbWmdR5VKWvnCqzp7bKLCayfM0IrG4hyo/qEUW+UJgTrGQuiJ0iLTEQ=="/>
  <p:tag name="MEKKOXMLTAGS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kko Graphics Presentation Template.pptx" id="{F784860D-932B-4C5D-A645-0E3B722ADAC2}" vid="{6332FCFF-3B5C-4C62-99D0-81A6FDC7EDC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 xmlns="f252f0d0-fd33-4d0c-9344-d2a950077a40" xsi:nil="true"/>
    <MigrationWizIdPermissionLevels xmlns="f252f0d0-fd33-4d0c-9344-d2a950077a40" xsi:nil="true"/>
    <MigrationWizIdDocumentLibraryPermissions xmlns="f252f0d0-fd33-4d0c-9344-d2a950077a40" xsi:nil="true"/>
    <MigrationWizIdSecurityGroups xmlns="f252f0d0-fd33-4d0c-9344-d2a950077a40" xsi:nil="true"/>
    <MigrationWizIdPermissions xmlns="f252f0d0-fd33-4d0c-9344-d2a950077a4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1DCE0D0F7A384EA39729B3C3E1E592" ma:contentTypeVersion="18" ma:contentTypeDescription="Create a new document." ma:contentTypeScope="" ma:versionID="a6a1a80cd16e7a20aa15202249067693">
  <xsd:schema xmlns:xsd="http://www.w3.org/2001/XMLSchema" xmlns:xs="http://www.w3.org/2001/XMLSchema" xmlns:p="http://schemas.microsoft.com/office/2006/metadata/properties" xmlns:ns3="f252f0d0-fd33-4d0c-9344-d2a950077a40" xmlns:ns4="d92eb20f-d023-481b-a813-16a2e3438f72" targetNamespace="http://schemas.microsoft.com/office/2006/metadata/properties" ma:root="true" ma:fieldsID="cb3e864e5d419d881ed49dd576a89680" ns3:_="" ns4:_="">
    <xsd:import namespace="f252f0d0-fd33-4d0c-9344-d2a950077a40"/>
    <xsd:import namespace="d92eb20f-d023-481b-a813-16a2e3438f72"/>
    <xsd:element name="properties">
      <xsd:complexType>
        <xsd:sequence>
          <xsd:element name="documentManagement">
            <xsd:complexType>
              <xsd:all>
                <xsd:element ref="ns3:MigrationWizId" minOccurs="0"/>
                <xsd:element ref="ns3:MigrationWizIdPermissions" minOccurs="0"/>
                <xsd:element ref="ns3:MigrationWizIdPermissionLevels" minOccurs="0"/>
                <xsd:element ref="ns3:MigrationWizIdDocumentLibraryPermissions" minOccurs="0"/>
                <xsd:element ref="ns3:MigrationWizIdSecurityGroup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52f0d0-fd33-4d0c-9344-d2a950077a40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internalName="MigrationWizIdSecurityGroups">
      <xsd:simpleType>
        <xsd:restriction base="dms:Text"/>
      </xsd:simpleType>
    </xsd:element>
    <xsd:element name="MediaServiceMetadata" ma:index="1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AutoKeyPoints" ma:index="2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2eb20f-d023-481b-a813-16a2e3438f7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C938A6D-6F5A-42A5-98C0-B80A54977D40}">
  <ds:schemaRefs>
    <ds:schemaRef ds:uri="d92eb20f-d023-481b-a813-16a2e3438f72"/>
    <ds:schemaRef ds:uri="http://purl.org/dc/dcmitype/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f252f0d0-fd33-4d0c-9344-d2a950077a40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913CAC9-946D-443F-93FD-8125348F17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4962FA-1A2E-4F96-A1EF-F07ABE540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52f0d0-fd33-4d0c-9344-d2a950077a40"/>
    <ds:schemaRef ds:uri="d92eb20f-d023-481b-a813-16a2e3438f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220</TotalTime>
  <Words>54</Words>
  <Application>Microsoft Office PowerPoint</Application>
  <PresentationFormat>On-screen Show (4:3)</PresentationFormat>
  <Paragraphs>6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Century Gothic</vt:lpstr>
      <vt:lpstr>Calibri</vt:lpstr>
      <vt:lpstr>Arial</vt:lpstr>
      <vt:lpstr>Clarity</vt:lpstr>
      <vt:lpstr>Mobile App Store Activity</vt:lpstr>
    </vt:vector>
  </TitlesOfParts>
  <Company>Mekko Graphi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Goldstein</dc:creator>
  <cp:lastModifiedBy>David Goldstein</cp:lastModifiedBy>
  <cp:revision>240</cp:revision>
  <cp:lastPrinted>2018-12-11T20:03:10Z</cp:lastPrinted>
  <dcterms:created xsi:type="dcterms:W3CDTF">2014-11-08T22:34:19Z</dcterms:created>
  <dcterms:modified xsi:type="dcterms:W3CDTF">2021-03-09T15:1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1DCE0D0F7A384EA39729B3C3E1E592</vt:lpwstr>
  </property>
</Properties>
</file>